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comments/comment1.xml" ContentType="application/vnd.openxmlformats-officedocument.presentationml.comments+xml"/>
  <Override PartName="/ppt/tags/tag14.xml" ContentType="application/vnd.openxmlformats-officedocument.presentationml.tags+xml"/>
  <Override PartName="/ppt/tags/tag1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2"/>
  </p:notesMasterIdLst>
  <p:sldIdLst>
    <p:sldId id="256" r:id="rId2"/>
    <p:sldId id="280" r:id="rId3"/>
    <p:sldId id="279" r:id="rId4"/>
    <p:sldId id="257" r:id="rId5"/>
    <p:sldId id="278" r:id="rId6"/>
    <p:sldId id="266" r:id="rId7"/>
    <p:sldId id="271" r:id="rId8"/>
    <p:sldId id="267" r:id="rId9"/>
    <p:sldId id="270" r:id="rId10"/>
    <p:sldId id="275" r:id="rId11"/>
    <p:sldId id="288" r:id="rId12"/>
    <p:sldId id="286" r:id="rId13"/>
    <p:sldId id="284" r:id="rId14"/>
    <p:sldId id="287" r:id="rId15"/>
    <p:sldId id="282" r:id="rId16"/>
    <p:sldId id="281" r:id="rId17"/>
    <p:sldId id="263" r:id="rId18"/>
    <p:sldId id="283" r:id="rId19"/>
    <p:sldId id="272" r:id="rId20"/>
    <p:sldId id="273" r:id="rId21"/>
  </p:sldIdLst>
  <p:sldSz cx="12192000" cy="6858000"/>
  <p:notesSz cx="6858000" cy="9144000"/>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216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risnawanugroho" initials="t" lastIdx="13" clrIdx="0">
    <p:extLst>
      <p:ext uri="{19B8F6BF-5375-455C-9EA6-DF929625EA0E}">
        <p15:presenceInfo xmlns:p15="http://schemas.microsoft.com/office/powerpoint/2012/main" userId="trisnawanugroho" providerId="None"/>
      </p:ext>
    </p:extLst>
  </p:cmAuthor>
  <p:cmAuthor id="2" name="shrey parekh" initials="sp" lastIdx="2" clrIdx="1">
    <p:extLst>
      <p:ext uri="{19B8F6BF-5375-455C-9EA6-DF929625EA0E}">
        <p15:presenceInfo xmlns:p15="http://schemas.microsoft.com/office/powerpoint/2012/main" userId="5a06b7d8bd702116"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8492"/>
    <a:srgbClr val="101935"/>
    <a:srgbClr val="564787"/>
    <a:srgbClr val="A53975"/>
    <a:srgbClr val="652D74"/>
    <a:srgbClr val="DBCBD8"/>
    <a:srgbClr val="F2FDFF"/>
    <a:srgbClr val="9AD4D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0307" autoAdjust="0"/>
  </p:normalViewPr>
  <p:slideViewPr>
    <p:cSldViewPr snapToGrid="0">
      <p:cViewPr varScale="1">
        <p:scale>
          <a:sx n="65" d="100"/>
          <a:sy n="65" d="100"/>
        </p:scale>
        <p:origin x="246" y="66"/>
      </p:cViewPr>
      <p:guideLst>
        <p:guide pos="3840"/>
        <p:guide orient="horz" pos="2160"/>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heme" Target="theme/theme1.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21-03-19T11:24:52.069" idx="1">
    <p:pos x="4885" y="3714"/>
    <p:text/>
    <p:extLst>
      <p:ext uri="{C676402C-5697-4E1C-873F-D02D1690AC5C}">
        <p15:threadingInfo xmlns:p15="http://schemas.microsoft.com/office/powerpoint/2012/main" timeZoneBias="-660"/>
      </p:ext>
    </p:extLst>
  </p:cm>
  <p:cm authorId="2" dt="2021-03-19T11:26:08.203" idx="2">
    <p:pos x="4885" y="3810"/>
    <p:text>Social Science &amp; Medicine
Volume 49, Issue 6, September 1999, Pages 711-725</p:text>
    <p:extLst>
      <p:ext uri="{C676402C-5697-4E1C-873F-D02D1690AC5C}">
        <p15:threadingInfo xmlns:p15="http://schemas.microsoft.com/office/powerpoint/2012/main" timeZoneBias="-660">
          <p15:parentCm authorId="2" idx="1"/>
        </p15:threadingInfo>
      </p:ext>
    </p:extLs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380334-13B4-4816-BC0B-C9543A5DB747}" type="datetimeFigureOut">
              <a:rPr lang="en-US" smtClean="0"/>
              <a:t>3/25/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D225FB8-320C-4083-8A3A-856629D1AEA9}" type="slidenum">
              <a:rPr lang="en-US" smtClean="0"/>
              <a:t>‹#›</a:t>
            </a:fld>
            <a:endParaRPr lang="en-US"/>
          </a:p>
        </p:txBody>
      </p:sp>
    </p:spTree>
    <p:extLst>
      <p:ext uri="{BB962C8B-B14F-4D97-AF65-F5344CB8AC3E}">
        <p14:creationId xmlns:p14="http://schemas.microsoft.com/office/powerpoint/2010/main" val="27724305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s by </a:t>
            </a:r>
            <a:r>
              <a:rPr lang="en-US" dirty="0" err="1"/>
              <a:t>Freepik</a:t>
            </a:r>
            <a:endParaRPr lang="en-US" dirty="0"/>
          </a:p>
        </p:txBody>
      </p:sp>
      <p:sp>
        <p:nvSpPr>
          <p:cNvPr id="4" name="Slide Number Placeholder 3"/>
          <p:cNvSpPr>
            <a:spLocks noGrp="1"/>
          </p:cNvSpPr>
          <p:nvPr>
            <p:ph type="sldNum" sz="quarter" idx="5"/>
          </p:nvPr>
        </p:nvSpPr>
        <p:spPr/>
        <p:txBody>
          <a:bodyPr/>
          <a:lstStyle/>
          <a:p>
            <a:fld id="{BD225FB8-320C-4083-8A3A-856629D1AEA9}" type="slidenum">
              <a:rPr lang="en-US" smtClean="0"/>
              <a:t>1</a:t>
            </a:fld>
            <a:endParaRPr lang="en-US"/>
          </a:p>
        </p:txBody>
      </p:sp>
    </p:spTree>
    <p:extLst>
      <p:ext uri="{BB962C8B-B14F-4D97-AF65-F5344CB8AC3E}">
        <p14:creationId xmlns:p14="http://schemas.microsoft.com/office/powerpoint/2010/main" val="29170124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s by </a:t>
            </a:r>
            <a:r>
              <a:rPr lang="en-US" dirty="0" err="1"/>
              <a:t>Freepik</a:t>
            </a:r>
            <a:endParaRPr lang="en-US" dirty="0"/>
          </a:p>
        </p:txBody>
      </p:sp>
      <p:sp>
        <p:nvSpPr>
          <p:cNvPr id="4" name="Slide Number Placeholder 3"/>
          <p:cNvSpPr>
            <a:spLocks noGrp="1"/>
          </p:cNvSpPr>
          <p:nvPr>
            <p:ph type="sldNum" sz="quarter" idx="5"/>
          </p:nvPr>
        </p:nvSpPr>
        <p:spPr/>
        <p:txBody>
          <a:bodyPr/>
          <a:lstStyle/>
          <a:p>
            <a:fld id="{BD225FB8-320C-4083-8A3A-856629D1AEA9}" type="slidenum">
              <a:rPr lang="en-US" smtClean="0"/>
              <a:t>2</a:t>
            </a:fld>
            <a:endParaRPr lang="en-US"/>
          </a:p>
        </p:txBody>
      </p:sp>
    </p:spTree>
    <p:extLst>
      <p:ext uri="{BB962C8B-B14F-4D97-AF65-F5344CB8AC3E}">
        <p14:creationId xmlns:p14="http://schemas.microsoft.com/office/powerpoint/2010/main" val="4142848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s by </a:t>
            </a:r>
            <a:r>
              <a:rPr lang="en-US" dirty="0" err="1"/>
              <a:t>Evening_tao</a:t>
            </a:r>
            <a:r>
              <a:rPr lang="en-US" dirty="0"/>
              <a:t> / </a:t>
            </a:r>
            <a:r>
              <a:rPr lang="en-US" dirty="0" err="1"/>
              <a:t>Freepik</a:t>
            </a:r>
            <a:endParaRPr lang="en-US" dirty="0"/>
          </a:p>
        </p:txBody>
      </p:sp>
      <p:sp>
        <p:nvSpPr>
          <p:cNvPr id="4" name="Slide Number Placeholder 3"/>
          <p:cNvSpPr>
            <a:spLocks noGrp="1"/>
          </p:cNvSpPr>
          <p:nvPr>
            <p:ph type="sldNum" sz="quarter" idx="5"/>
          </p:nvPr>
        </p:nvSpPr>
        <p:spPr/>
        <p:txBody>
          <a:bodyPr/>
          <a:lstStyle/>
          <a:p>
            <a:fld id="{BD225FB8-320C-4083-8A3A-856629D1AEA9}" type="slidenum">
              <a:rPr lang="en-US" smtClean="0"/>
              <a:t>4</a:t>
            </a:fld>
            <a:endParaRPr lang="en-US"/>
          </a:p>
        </p:txBody>
      </p:sp>
    </p:spTree>
    <p:extLst>
      <p:ext uri="{BB962C8B-B14F-4D97-AF65-F5344CB8AC3E}">
        <p14:creationId xmlns:p14="http://schemas.microsoft.com/office/powerpoint/2010/main" val="28834954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800" dirty="0">
                <a:effectLst/>
                <a:latin typeface="Segoe UI" panose="020B0502040204020203" pitchFamily="34" charset="0"/>
              </a:rPr>
              <a:t>Social Science &amp; Medicine</a:t>
            </a:r>
            <a:endParaRPr lang="en-AU" sz="1800" dirty="0">
              <a:effectLst/>
              <a:latin typeface="Arial" panose="020B0604020202020204" pitchFamily="34" charset="0"/>
            </a:endParaRPr>
          </a:p>
          <a:p>
            <a:r>
              <a:rPr lang="en-AU" sz="1800" dirty="0">
                <a:effectLst/>
                <a:latin typeface="Segoe UI" panose="020B0502040204020203" pitchFamily="34" charset="0"/>
              </a:rPr>
              <a:t>Volume 49, Issue 6, September 1999, Pages 711-725</a:t>
            </a:r>
            <a:endParaRPr lang="en-AU" sz="1800" dirty="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BD225FB8-320C-4083-8A3A-856629D1AEA9}" type="slidenum">
              <a:rPr lang="en-US" smtClean="0"/>
              <a:t>5</a:t>
            </a:fld>
            <a:endParaRPr lang="en-US"/>
          </a:p>
        </p:txBody>
      </p:sp>
    </p:spTree>
    <p:extLst>
      <p:ext uri="{BB962C8B-B14F-4D97-AF65-F5344CB8AC3E}">
        <p14:creationId xmlns:p14="http://schemas.microsoft.com/office/powerpoint/2010/main" val="38367860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s by </a:t>
            </a:r>
            <a:r>
              <a:rPr lang="en-US" dirty="0" err="1"/>
              <a:t>Freepik</a:t>
            </a:r>
            <a:endParaRPr lang="en-US" dirty="0"/>
          </a:p>
        </p:txBody>
      </p:sp>
      <p:sp>
        <p:nvSpPr>
          <p:cNvPr id="4" name="Slide Number Placeholder 3"/>
          <p:cNvSpPr>
            <a:spLocks noGrp="1"/>
          </p:cNvSpPr>
          <p:nvPr>
            <p:ph type="sldNum" sz="quarter" idx="5"/>
          </p:nvPr>
        </p:nvSpPr>
        <p:spPr/>
        <p:txBody>
          <a:bodyPr/>
          <a:lstStyle/>
          <a:p>
            <a:fld id="{BD225FB8-320C-4083-8A3A-856629D1AEA9}" type="slidenum">
              <a:rPr lang="en-US" smtClean="0"/>
              <a:t>6</a:t>
            </a:fld>
            <a:endParaRPr lang="en-US"/>
          </a:p>
        </p:txBody>
      </p:sp>
    </p:spTree>
    <p:extLst>
      <p:ext uri="{BB962C8B-B14F-4D97-AF65-F5344CB8AC3E}">
        <p14:creationId xmlns:p14="http://schemas.microsoft.com/office/powerpoint/2010/main" val="39061459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D225FB8-320C-4083-8A3A-856629D1AEA9}" type="slidenum">
              <a:rPr lang="en-US" smtClean="0"/>
              <a:t>7</a:t>
            </a:fld>
            <a:endParaRPr lang="en-US"/>
          </a:p>
        </p:txBody>
      </p:sp>
    </p:spTree>
    <p:extLst>
      <p:ext uri="{BB962C8B-B14F-4D97-AF65-F5344CB8AC3E}">
        <p14:creationId xmlns:p14="http://schemas.microsoft.com/office/powerpoint/2010/main" val="36545083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s by rawpixel.com / </a:t>
            </a:r>
            <a:r>
              <a:rPr lang="en-US" dirty="0" err="1"/>
              <a:t>Freepik</a:t>
            </a:r>
            <a:endParaRPr lang="en-US" dirty="0"/>
          </a:p>
        </p:txBody>
      </p:sp>
      <p:sp>
        <p:nvSpPr>
          <p:cNvPr id="4" name="Slide Number Placeholder 3"/>
          <p:cNvSpPr>
            <a:spLocks noGrp="1"/>
          </p:cNvSpPr>
          <p:nvPr>
            <p:ph type="sldNum" sz="quarter" idx="5"/>
          </p:nvPr>
        </p:nvSpPr>
        <p:spPr/>
        <p:txBody>
          <a:bodyPr/>
          <a:lstStyle/>
          <a:p>
            <a:fld id="{BD225FB8-320C-4083-8A3A-856629D1AEA9}" type="slidenum">
              <a:rPr lang="en-US" smtClean="0"/>
              <a:t>8</a:t>
            </a:fld>
            <a:endParaRPr lang="en-US"/>
          </a:p>
        </p:txBody>
      </p:sp>
    </p:spTree>
    <p:extLst>
      <p:ext uri="{BB962C8B-B14F-4D97-AF65-F5344CB8AC3E}">
        <p14:creationId xmlns:p14="http://schemas.microsoft.com/office/powerpoint/2010/main" val="15572950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s by </a:t>
            </a:r>
            <a:r>
              <a:rPr lang="en-US" dirty="0" err="1"/>
              <a:t>creativeart</a:t>
            </a:r>
            <a:r>
              <a:rPr lang="en-US" dirty="0"/>
              <a:t> / </a:t>
            </a:r>
            <a:r>
              <a:rPr lang="en-US" dirty="0" err="1"/>
              <a:t>Freepik</a:t>
            </a:r>
            <a:endParaRPr lang="en-US" dirty="0"/>
          </a:p>
        </p:txBody>
      </p:sp>
      <p:sp>
        <p:nvSpPr>
          <p:cNvPr id="4" name="Slide Number Placeholder 3"/>
          <p:cNvSpPr>
            <a:spLocks noGrp="1"/>
          </p:cNvSpPr>
          <p:nvPr>
            <p:ph type="sldNum" sz="quarter" idx="5"/>
          </p:nvPr>
        </p:nvSpPr>
        <p:spPr/>
        <p:txBody>
          <a:bodyPr/>
          <a:lstStyle/>
          <a:p>
            <a:fld id="{BD225FB8-320C-4083-8A3A-856629D1AEA9}" type="slidenum">
              <a:rPr lang="en-US" smtClean="0"/>
              <a:t>19</a:t>
            </a:fld>
            <a:endParaRPr lang="en-US"/>
          </a:p>
        </p:txBody>
      </p:sp>
    </p:spTree>
    <p:extLst>
      <p:ext uri="{BB962C8B-B14F-4D97-AF65-F5344CB8AC3E}">
        <p14:creationId xmlns:p14="http://schemas.microsoft.com/office/powerpoint/2010/main" val="39203366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s by </a:t>
            </a:r>
            <a:r>
              <a:rPr lang="en-US" dirty="0" err="1"/>
              <a:t>Freepik</a:t>
            </a:r>
            <a:endParaRPr lang="en-US" dirty="0"/>
          </a:p>
        </p:txBody>
      </p:sp>
      <p:sp>
        <p:nvSpPr>
          <p:cNvPr id="4" name="Slide Number Placeholder 3"/>
          <p:cNvSpPr>
            <a:spLocks noGrp="1"/>
          </p:cNvSpPr>
          <p:nvPr>
            <p:ph type="sldNum" sz="quarter" idx="5"/>
          </p:nvPr>
        </p:nvSpPr>
        <p:spPr/>
        <p:txBody>
          <a:bodyPr/>
          <a:lstStyle/>
          <a:p>
            <a:fld id="{BD225FB8-320C-4083-8A3A-856629D1AEA9}" type="slidenum">
              <a:rPr lang="en-US" smtClean="0"/>
              <a:t>20</a:t>
            </a:fld>
            <a:endParaRPr lang="en-US"/>
          </a:p>
        </p:txBody>
      </p:sp>
    </p:spTree>
    <p:extLst>
      <p:ext uri="{BB962C8B-B14F-4D97-AF65-F5344CB8AC3E}">
        <p14:creationId xmlns:p14="http://schemas.microsoft.com/office/powerpoint/2010/main" val="10591219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C1A2541-C66C-4680-968E-4CFD21EFF52D}"/>
              </a:ext>
            </a:extLst>
          </p:cNvPr>
          <p:cNvGraphicFramePr>
            <a:graphicFrameLocks noChangeAspect="1"/>
          </p:cNvGraphicFramePr>
          <p:nvPr userDrawn="1">
            <p:custDataLst>
              <p:tags r:id="rId1"/>
            </p:custDataLst>
            <p:extLst>
              <p:ext uri="{D42A27DB-BD31-4B8C-83A1-F6EECF244321}">
                <p14:modId xmlns:p14="http://schemas.microsoft.com/office/powerpoint/2010/main" val="2670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CC127CB-45BF-4D09-B501-F4C759F6445D}"/>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6000" b="1" i="0" baseline="0" dirty="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CC5F3DBF-45AF-4497-B142-6B38DF4B36B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38DDFBC-1843-4C12-9D5E-451430B7161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0ADFB6B-EF4D-40B0-B7EB-BB5B7BCA65D9}"/>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4F285D75-D480-429C-B8A5-568CD5D6CEE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51BA913B-0C70-402E-BF80-D38C98E022EB}"/>
              </a:ext>
            </a:extLst>
          </p:cNvPr>
          <p:cNvSpPr>
            <a:spLocks noGrp="1"/>
          </p:cNvSpPr>
          <p:nvPr>
            <p:ph type="sldNum" sz="quarter" idx="12"/>
          </p:nvPr>
        </p:nvSpPr>
        <p:spPr>
          <a:xfrm>
            <a:off x="8610600" y="6356350"/>
            <a:ext cx="2743200" cy="365125"/>
          </a:xfrm>
          <a:prstGeom prst="rect">
            <a:avLst/>
          </a:prstGeom>
        </p:spPr>
        <p:txBody>
          <a:bodyPr/>
          <a:lstStyle/>
          <a:p>
            <a:fld id="{B84D2E29-67F4-44D8-B0E3-F54815B4F123}" type="slidenum">
              <a:rPr lang="en-US" smtClean="0"/>
              <a:t>‹#›</a:t>
            </a:fld>
            <a:endParaRPr lang="en-US"/>
          </a:p>
        </p:txBody>
      </p:sp>
    </p:spTree>
    <p:extLst>
      <p:ext uri="{BB962C8B-B14F-4D97-AF65-F5344CB8AC3E}">
        <p14:creationId xmlns:p14="http://schemas.microsoft.com/office/powerpoint/2010/main" val="16955724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Rectangle: Single Corner Rounded 3">
            <a:extLst>
              <a:ext uri="{FF2B5EF4-FFF2-40B4-BE49-F238E27FC236}">
                <a16:creationId xmlns:a16="http://schemas.microsoft.com/office/drawing/2014/main" id="{1A405EED-F690-4A11-92A7-2981DA55D4FE}"/>
              </a:ext>
            </a:extLst>
          </p:cNvPr>
          <p:cNvSpPr/>
          <p:nvPr userDrawn="1"/>
        </p:nvSpPr>
        <p:spPr>
          <a:xfrm flipH="1">
            <a:off x="11492632" y="6158632"/>
            <a:ext cx="699368" cy="699368"/>
          </a:xfrm>
          <a:prstGeom prst="round1Rect">
            <a:avLst>
              <a:gd name="adj" fmla="val 31194"/>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a:extLst>
              <a:ext uri="{FF2B5EF4-FFF2-40B4-BE49-F238E27FC236}">
                <a16:creationId xmlns:a16="http://schemas.microsoft.com/office/drawing/2014/main" id="{DBA2064D-F3C3-4247-BB0E-3A8B9A2204D7}"/>
              </a:ext>
            </a:extLst>
          </p:cNvPr>
          <p:cNvGraphicFramePr>
            <a:graphicFrameLocks noChangeAspect="1"/>
          </p:cNvGraphicFramePr>
          <p:nvPr userDrawn="1">
            <p:custDataLst>
              <p:tags r:id="rId1"/>
            </p:custDataLst>
            <p:extLst>
              <p:ext uri="{D42A27DB-BD31-4B8C-83A1-F6EECF244321}">
                <p14:modId xmlns:p14="http://schemas.microsoft.com/office/powerpoint/2010/main" val="1257603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16F16FD-2C53-403B-BF33-81984B8570A7}"/>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600" b="1" i="0" baseline="0" dirty="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7634B0F8-76FB-42F2-8E67-4517D27F0A9D}"/>
              </a:ext>
            </a:extLst>
          </p:cNvPr>
          <p:cNvSpPr>
            <a:spLocks noGrp="1"/>
          </p:cNvSpPr>
          <p:nvPr>
            <p:ph type="title"/>
          </p:nvPr>
        </p:nvSpPr>
        <p:spPr>
          <a:xfrm>
            <a:off x="609600" y="365126"/>
            <a:ext cx="10972800" cy="775612"/>
          </a:xfrm>
        </p:spPr>
        <p:txBody>
          <a:bodyPr lIns="0" tIns="0" rIns="0" bIns="0" anchor="ctr"/>
          <a:lstStyle/>
          <a:p>
            <a:r>
              <a:rPr lang="en-US"/>
              <a:t>Click to edit Master title style</a:t>
            </a:r>
          </a:p>
        </p:txBody>
      </p:sp>
      <p:sp>
        <p:nvSpPr>
          <p:cNvPr id="3" name="Content Placeholder 2">
            <a:extLst>
              <a:ext uri="{FF2B5EF4-FFF2-40B4-BE49-F238E27FC236}">
                <a16:creationId xmlns:a16="http://schemas.microsoft.com/office/drawing/2014/main" id="{9B9F3021-AB9D-4B2B-987A-B25B40257112}"/>
              </a:ext>
            </a:extLst>
          </p:cNvPr>
          <p:cNvSpPr>
            <a:spLocks noGrp="1"/>
          </p:cNvSpPr>
          <p:nvPr>
            <p:ph idx="1"/>
          </p:nvPr>
        </p:nvSpPr>
        <p:spPr>
          <a:xfrm>
            <a:off x="609600" y="1330859"/>
            <a:ext cx="10972800" cy="484610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BF14A7C7-1984-4854-9D29-7402A14F46DF}"/>
              </a:ext>
            </a:extLst>
          </p:cNvPr>
          <p:cNvSpPr>
            <a:spLocks noGrp="1"/>
          </p:cNvSpPr>
          <p:nvPr>
            <p:ph type="sldNum" sz="quarter" idx="4"/>
          </p:nvPr>
        </p:nvSpPr>
        <p:spPr>
          <a:xfrm>
            <a:off x="11658612" y="6369817"/>
            <a:ext cx="367408" cy="276999"/>
          </a:xfrm>
          <a:prstGeom prst="rect">
            <a:avLst/>
          </a:prstGeom>
        </p:spPr>
        <p:txBody>
          <a:bodyPr wrap="none" anchor="ctr">
            <a:spAutoFit/>
          </a:bodyPr>
          <a:lstStyle>
            <a:lvl1pPr algn="ctr">
              <a:defRPr sz="1200">
                <a:solidFill>
                  <a:schemeClr val="bg1"/>
                </a:solidFill>
              </a:defRPr>
            </a:lvl1pPr>
          </a:lstStyle>
          <a:p>
            <a:fld id="{B84D2E29-67F4-44D8-B0E3-F54815B4F123}" type="slidenum">
              <a:rPr lang="en-US" smtClean="0"/>
              <a:pPr/>
              <a:t>‹#›</a:t>
            </a:fld>
            <a:endParaRPr lang="en-US" dirty="0"/>
          </a:p>
        </p:txBody>
      </p:sp>
    </p:spTree>
    <p:extLst>
      <p:ext uri="{BB962C8B-B14F-4D97-AF65-F5344CB8AC3E}">
        <p14:creationId xmlns:p14="http://schemas.microsoft.com/office/powerpoint/2010/main" val="439993749"/>
      </p:ext>
    </p:extLst>
  </p:cSld>
  <p:clrMapOvr>
    <a:masterClrMapping/>
  </p:clrMapOvr>
  <p:extLst>
    <p:ext uri="{DCECCB84-F9BA-43D5-87BE-67443E8EF086}">
      <p15:sldGuideLst xmlns:p15="http://schemas.microsoft.com/office/powerpoint/2012/main">
        <p15:guide id="1" orient="horz" pos="840" userDrawn="1">
          <p15:clr>
            <a:srgbClr val="FBAE40"/>
          </p15:clr>
        </p15:guide>
        <p15:guide id="2" pos="7296" userDrawn="1">
          <p15:clr>
            <a:srgbClr val="FBAE40"/>
          </p15:clr>
        </p15:guide>
        <p15:guide id="3" pos="384"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363A9F-260C-4294-90DA-CB639DDBE96C}"/>
              </a:ext>
            </a:extLst>
          </p:cNvPr>
          <p:cNvSpPr>
            <a:spLocks noGrp="1"/>
          </p:cNvSpPr>
          <p:nvPr>
            <p:ph type="dt" sz="half" idx="10"/>
          </p:nvPr>
        </p:nvSpPr>
        <p:spPr/>
        <p:txBody>
          <a:bodyPr/>
          <a:lstStyle/>
          <a:p>
            <a:fld id="{4F16625D-0372-4564-8F2D-2B4020413F40}" type="datetimeFigureOut">
              <a:rPr lang="en-US" smtClean="0"/>
              <a:t>3/25/2021</a:t>
            </a:fld>
            <a:endParaRPr lang="en-US"/>
          </a:p>
        </p:txBody>
      </p:sp>
      <p:sp>
        <p:nvSpPr>
          <p:cNvPr id="3" name="Footer Placeholder 2">
            <a:extLst>
              <a:ext uri="{FF2B5EF4-FFF2-40B4-BE49-F238E27FC236}">
                <a16:creationId xmlns:a16="http://schemas.microsoft.com/office/drawing/2014/main" id="{731B24B7-B41C-4CBB-9BCC-891FC540A6A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81B0BFC-4EA2-4A85-95A4-5933E7188379}"/>
              </a:ext>
            </a:extLst>
          </p:cNvPr>
          <p:cNvSpPr>
            <a:spLocks noGrp="1"/>
          </p:cNvSpPr>
          <p:nvPr>
            <p:ph type="sldNum" sz="quarter" idx="12"/>
          </p:nvPr>
        </p:nvSpPr>
        <p:spPr/>
        <p:txBody>
          <a:bodyPr/>
          <a:lstStyle/>
          <a:p>
            <a:fld id="{2B5E5E57-0193-45F1-AA6D-ABE38BBADBB1}" type="slidenum">
              <a:rPr lang="en-US" smtClean="0"/>
              <a:t>‹#›</a:t>
            </a:fld>
            <a:endParaRPr lang="en-US"/>
          </a:p>
        </p:txBody>
      </p:sp>
    </p:spTree>
    <p:extLst>
      <p:ext uri="{BB962C8B-B14F-4D97-AF65-F5344CB8AC3E}">
        <p14:creationId xmlns:p14="http://schemas.microsoft.com/office/powerpoint/2010/main" val="12919665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C59F4C5-B0B1-4297-BAA0-7E0E72AFC756}"/>
              </a:ext>
            </a:extLst>
          </p:cNvPr>
          <p:cNvGraphicFramePr>
            <a:graphicFrameLocks noChangeAspect="1"/>
          </p:cNvGraphicFramePr>
          <p:nvPr userDrawn="1">
            <p:custDataLst>
              <p:tags r:id="rId5"/>
            </p:custDataLst>
            <p:extLst>
              <p:ext uri="{D42A27DB-BD31-4B8C-83A1-F6EECF244321}">
                <p14:modId xmlns:p14="http://schemas.microsoft.com/office/powerpoint/2010/main" val="3801975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83" imgH="384" progId="TCLayout.ActiveDocument.1">
                  <p:embed/>
                </p:oleObj>
              </mc:Choice>
              <mc:Fallback>
                <p:oleObj name="think-cell Slide" r:id="rId7" imgW="383"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1C34D6F-D0F4-4534-8C4A-5CB0647CBE1B}"/>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600" b="1" i="0" baseline="0" dirty="0">
              <a:latin typeface="Calibri" panose="020F0502020204030204" pitchFamily="34" charset="0"/>
              <a:ea typeface="+mj-ea"/>
              <a:cs typeface="+mj-cs"/>
              <a:sym typeface="Calibri" panose="020F0502020204030204" pitchFamily="34" charset="0"/>
            </a:endParaRPr>
          </a:p>
        </p:txBody>
      </p:sp>
      <p:sp>
        <p:nvSpPr>
          <p:cNvPr id="2" name="Title Placeholder 1">
            <a:extLst>
              <a:ext uri="{FF2B5EF4-FFF2-40B4-BE49-F238E27FC236}">
                <a16:creationId xmlns:a16="http://schemas.microsoft.com/office/drawing/2014/main" id="{C15189CC-BB19-4580-9BD1-E60E21E8F458}"/>
              </a:ext>
            </a:extLst>
          </p:cNvPr>
          <p:cNvSpPr>
            <a:spLocks noGrp="1"/>
          </p:cNvSpPr>
          <p:nvPr>
            <p:ph type="title"/>
          </p:nvPr>
        </p:nvSpPr>
        <p:spPr>
          <a:xfrm>
            <a:off x="609600" y="365126"/>
            <a:ext cx="10972800" cy="775612"/>
          </a:xfrm>
          <a:prstGeom prst="rect">
            <a:avLst/>
          </a:prstGeom>
        </p:spPr>
        <p:txBody>
          <a:bodyPr vert="horz" lIns="0" tIns="0" rIns="0" bIns="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9FBED655-EDEF-4F48-8965-AC9A79BA0CE8}"/>
              </a:ext>
            </a:extLst>
          </p:cNvPr>
          <p:cNvSpPr>
            <a:spLocks noGrp="1"/>
          </p:cNvSpPr>
          <p:nvPr>
            <p:ph type="body" idx="1"/>
          </p:nvPr>
        </p:nvSpPr>
        <p:spPr>
          <a:xfrm>
            <a:off x="609600" y="1330859"/>
            <a:ext cx="10972800" cy="484610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Single Corner Rounded 12">
            <a:extLst>
              <a:ext uri="{FF2B5EF4-FFF2-40B4-BE49-F238E27FC236}">
                <a16:creationId xmlns:a16="http://schemas.microsoft.com/office/drawing/2014/main" id="{D9201932-F016-4634-83E9-B726DBE3A173}"/>
              </a:ext>
            </a:extLst>
          </p:cNvPr>
          <p:cNvSpPr/>
          <p:nvPr userDrawn="1"/>
        </p:nvSpPr>
        <p:spPr>
          <a:xfrm flipH="1">
            <a:off x="11492632" y="6158632"/>
            <a:ext cx="699368" cy="699368"/>
          </a:xfrm>
          <a:prstGeom prst="round1Rect">
            <a:avLst>
              <a:gd name="adj" fmla="val 31194"/>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a:extLst>
              <a:ext uri="{FF2B5EF4-FFF2-40B4-BE49-F238E27FC236}">
                <a16:creationId xmlns:a16="http://schemas.microsoft.com/office/drawing/2014/main" id="{6AC4CF72-3B1D-42D0-A397-3629DD6ABDF2}"/>
              </a:ext>
            </a:extLst>
          </p:cNvPr>
          <p:cNvSpPr>
            <a:spLocks noGrp="1"/>
          </p:cNvSpPr>
          <p:nvPr>
            <p:ph type="sldNum" sz="quarter" idx="4"/>
          </p:nvPr>
        </p:nvSpPr>
        <p:spPr>
          <a:xfrm>
            <a:off x="11658612" y="6369817"/>
            <a:ext cx="367408" cy="276999"/>
          </a:xfrm>
          <a:prstGeom prst="rect">
            <a:avLst/>
          </a:prstGeom>
        </p:spPr>
        <p:txBody>
          <a:bodyPr wrap="none" anchor="ctr">
            <a:spAutoFit/>
          </a:bodyPr>
          <a:lstStyle>
            <a:lvl1pPr algn="ctr">
              <a:defRPr sz="1200">
                <a:solidFill>
                  <a:schemeClr val="bg1"/>
                </a:solidFill>
              </a:defRPr>
            </a:lvl1pPr>
          </a:lstStyle>
          <a:p>
            <a:fld id="{B84D2E29-67F4-44D8-B0E3-F54815B4F123}" type="slidenum">
              <a:rPr lang="en-US" smtClean="0"/>
              <a:pPr/>
              <a:t>‹#›</a:t>
            </a:fld>
            <a:endParaRPr lang="en-US" dirty="0"/>
          </a:p>
        </p:txBody>
      </p:sp>
    </p:spTree>
    <p:extLst>
      <p:ext uri="{BB962C8B-B14F-4D97-AF65-F5344CB8AC3E}">
        <p14:creationId xmlns:p14="http://schemas.microsoft.com/office/powerpoint/2010/main" val="315389542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77" r:id="rId3"/>
  </p:sldLayoutIdLst>
  <p:hf hdr="0" ftr="0" dt="0"/>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7296" userDrawn="1">
          <p15:clr>
            <a:srgbClr val="F26B43"/>
          </p15:clr>
        </p15:guide>
        <p15:guide id="3" pos="38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oleObject" Target="../embeddings/oleObject4.bin"/><Relationship Id="rId5" Type="http://schemas.microsoft.com/office/2007/relationships/hdphoto" Target="../media/hdphoto1.wdp"/><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microsoft.com/office/2007/relationships/hdphoto" Target="../media/hdphoto4.wdp"/></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oleObject" Target="../embeddings/oleObject5.bin"/><Relationship Id="rId5" Type="http://schemas.microsoft.com/office/2007/relationships/hdphoto" Target="../media/hdphoto1.wdp"/><Relationship Id="rId4" Type="http://schemas.openxmlformats.org/officeDocument/2006/relationships/image" Target="../media/image2.png"/></Relationships>
</file>

<file path=ppt/slides/_rels/slide2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2.xml"/><Relationship Id="rId7" Type="http://schemas.openxmlformats.org/officeDocument/2006/relationships/image" Target="../media/image3.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2.xml"/><Relationship Id="rId7" Type="http://schemas.openxmlformats.org/officeDocument/2006/relationships/image" Target="../media/image4.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4.xml"/><Relationship Id="rId9" Type="http://schemas.openxmlformats.org/officeDocument/2006/relationships/comments" Target="../comments/comment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microsoft.com/office/2007/relationships/hdphoto" Target="../media/hdphoto2.wdp"/></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9.png"/><Relationship Id="rId4" Type="http://schemas.microsoft.com/office/2007/relationships/hdphoto" Target="../media/hdphoto3.wdp"/></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9" name="Rectangle 6">
            <a:extLst>
              <a:ext uri="{FF2B5EF4-FFF2-40B4-BE49-F238E27FC236}">
                <a16:creationId xmlns:a16="http://schemas.microsoft.com/office/drawing/2014/main" id="{73F466E3-4A1C-4F3C-8D41-557D758E8F2B}"/>
              </a:ext>
            </a:extLst>
          </p:cNvPr>
          <p:cNvSpPr/>
          <p:nvPr/>
        </p:nvSpPr>
        <p:spPr>
          <a:xfrm>
            <a:off x="355600"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 fmla="*/ 0 w 6270171"/>
              <a:gd name="connsiteY0" fmla="*/ 0 h 6858000"/>
              <a:gd name="connsiteX1" fmla="*/ 6270171 w 6270171"/>
              <a:gd name="connsiteY1" fmla="*/ 0 h 6858000"/>
              <a:gd name="connsiteX2" fmla="*/ 6255657 w 6270171"/>
              <a:gd name="connsiteY2" fmla="*/ 3352800 h 6858000"/>
              <a:gd name="connsiteX3" fmla="*/ 6270171 w 6270171"/>
              <a:gd name="connsiteY3" fmla="*/ 6858000 h 6858000"/>
              <a:gd name="connsiteX4" fmla="*/ 0 w 6270171"/>
              <a:gd name="connsiteY4" fmla="*/ 6858000 h 6858000"/>
              <a:gd name="connsiteX5" fmla="*/ 0 w 6270171"/>
              <a:gd name="connsiteY5" fmla="*/ 0 h 6858000"/>
              <a:gd name="connsiteX0" fmla="*/ 0 w 6729819"/>
              <a:gd name="connsiteY0" fmla="*/ 0 h 6858000"/>
              <a:gd name="connsiteX1" fmla="*/ 6270171 w 6729819"/>
              <a:gd name="connsiteY1" fmla="*/ 0 h 6858000"/>
              <a:gd name="connsiteX2" fmla="*/ 6255657 w 6729819"/>
              <a:gd name="connsiteY2" fmla="*/ 3352800 h 6858000"/>
              <a:gd name="connsiteX3" fmla="*/ 6270171 w 6729819"/>
              <a:gd name="connsiteY3" fmla="*/ 6858000 h 6858000"/>
              <a:gd name="connsiteX4" fmla="*/ 0 w 6729819"/>
              <a:gd name="connsiteY4" fmla="*/ 6858000 h 6858000"/>
              <a:gd name="connsiteX5" fmla="*/ 0 w 6729819"/>
              <a:gd name="connsiteY5" fmla="*/ 0 h 6858000"/>
              <a:gd name="connsiteX0" fmla="*/ 0 w 6526122"/>
              <a:gd name="connsiteY0" fmla="*/ 0 h 6858000"/>
              <a:gd name="connsiteX1" fmla="*/ 6270171 w 6526122"/>
              <a:gd name="connsiteY1" fmla="*/ 0 h 6858000"/>
              <a:gd name="connsiteX2" fmla="*/ 4833257 w 6526122"/>
              <a:gd name="connsiteY2" fmla="*/ 3468914 h 6858000"/>
              <a:gd name="connsiteX3" fmla="*/ 6270171 w 6526122"/>
              <a:gd name="connsiteY3" fmla="*/ 6858000 h 6858000"/>
              <a:gd name="connsiteX4" fmla="*/ 0 w 6526122"/>
              <a:gd name="connsiteY4" fmla="*/ 6858000 h 6858000"/>
              <a:gd name="connsiteX5" fmla="*/ 0 w 6526122"/>
              <a:gd name="connsiteY5" fmla="*/ 0 h 6858000"/>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 name="connsiteX5" fmla="*/ 0 w 6539571"/>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6">
            <a:extLst>
              <a:ext uri="{FF2B5EF4-FFF2-40B4-BE49-F238E27FC236}">
                <a16:creationId xmlns:a16="http://schemas.microsoft.com/office/drawing/2014/main" id="{8B55C193-579B-41F1-8950-EE0561C0E521}"/>
              </a:ext>
            </a:extLst>
          </p:cNvPr>
          <p:cNvSpPr/>
          <p:nvPr/>
        </p:nvSpPr>
        <p:spPr>
          <a:xfrm>
            <a:off x="222250"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 fmla="*/ 0 w 6270171"/>
              <a:gd name="connsiteY0" fmla="*/ 0 h 6858000"/>
              <a:gd name="connsiteX1" fmla="*/ 6270171 w 6270171"/>
              <a:gd name="connsiteY1" fmla="*/ 0 h 6858000"/>
              <a:gd name="connsiteX2" fmla="*/ 6255657 w 6270171"/>
              <a:gd name="connsiteY2" fmla="*/ 3352800 h 6858000"/>
              <a:gd name="connsiteX3" fmla="*/ 6270171 w 6270171"/>
              <a:gd name="connsiteY3" fmla="*/ 6858000 h 6858000"/>
              <a:gd name="connsiteX4" fmla="*/ 0 w 6270171"/>
              <a:gd name="connsiteY4" fmla="*/ 6858000 h 6858000"/>
              <a:gd name="connsiteX5" fmla="*/ 0 w 6270171"/>
              <a:gd name="connsiteY5" fmla="*/ 0 h 6858000"/>
              <a:gd name="connsiteX0" fmla="*/ 0 w 6729819"/>
              <a:gd name="connsiteY0" fmla="*/ 0 h 6858000"/>
              <a:gd name="connsiteX1" fmla="*/ 6270171 w 6729819"/>
              <a:gd name="connsiteY1" fmla="*/ 0 h 6858000"/>
              <a:gd name="connsiteX2" fmla="*/ 6255657 w 6729819"/>
              <a:gd name="connsiteY2" fmla="*/ 3352800 h 6858000"/>
              <a:gd name="connsiteX3" fmla="*/ 6270171 w 6729819"/>
              <a:gd name="connsiteY3" fmla="*/ 6858000 h 6858000"/>
              <a:gd name="connsiteX4" fmla="*/ 0 w 6729819"/>
              <a:gd name="connsiteY4" fmla="*/ 6858000 h 6858000"/>
              <a:gd name="connsiteX5" fmla="*/ 0 w 6729819"/>
              <a:gd name="connsiteY5" fmla="*/ 0 h 6858000"/>
              <a:gd name="connsiteX0" fmla="*/ 0 w 6526122"/>
              <a:gd name="connsiteY0" fmla="*/ 0 h 6858000"/>
              <a:gd name="connsiteX1" fmla="*/ 6270171 w 6526122"/>
              <a:gd name="connsiteY1" fmla="*/ 0 h 6858000"/>
              <a:gd name="connsiteX2" fmla="*/ 4833257 w 6526122"/>
              <a:gd name="connsiteY2" fmla="*/ 3468914 h 6858000"/>
              <a:gd name="connsiteX3" fmla="*/ 6270171 w 6526122"/>
              <a:gd name="connsiteY3" fmla="*/ 6858000 h 6858000"/>
              <a:gd name="connsiteX4" fmla="*/ 0 w 6526122"/>
              <a:gd name="connsiteY4" fmla="*/ 6858000 h 6858000"/>
              <a:gd name="connsiteX5" fmla="*/ 0 w 6526122"/>
              <a:gd name="connsiteY5" fmla="*/ 0 h 6858000"/>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 name="connsiteX5" fmla="*/ 0 w 6539571"/>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6">
            <a:extLst>
              <a:ext uri="{FF2B5EF4-FFF2-40B4-BE49-F238E27FC236}">
                <a16:creationId xmlns:a16="http://schemas.microsoft.com/office/drawing/2014/main" id="{B5C70F30-87F9-49E7-946B-AEFA22A72569}"/>
              </a:ext>
            </a:extLst>
          </p:cNvPr>
          <p:cNvSpPr/>
          <p:nvPr/>
        </p:nvSpPr>
        <p:spPr>
          <a:xfrm>
            <a:off x="88900"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 fmla="*/ 0 w 6270171"/>
              <a:gd name="connsiteY0" fmla="*/ 0 h 6858000"/>
              <a:gd name="connsiteX1" fmla="*/ 6270171 w 6270171"/>
              <a:gd name="connsiteY1" fmla="*/ 0 h 6858000"/>
              <a:gd name="connsiteX2" fmla="*/ 6255657 w 6270171"/>
              <a:gd name="connsiteY2" fmla="*/ 3352800 h 6858000"/>
              <a:gd name="connsiteX3" fmla="*/ 6270171 w 6270171"/>
              <a:gd name="connsiteY3" fmla="*/ 6858000 h 6858000"/>
              <a:gd name="connsiteX4" fmla="*/ 0 w 6270171"/>
              <a:gd name="connsiteY4" fmla="*/ 6858000 h 6858000"/>
              <a:gd name="connsiteX5" fmla="*/ 0 w 6270171"/>
              <a:gd name="connsiteY5" fmla="*/ 0 h 6858000"/>
              <a:gd name="connsiteX0" fmla="*/ 0 w 6729819"/>
              <a:gd name="connsiteY0" fmla="*/ 0 h 6858000"/>
              <a:gd name="connsiteX1" fmla="*/ 6270171 w 6729819"/>
              <a:gd name="connsiteY1" fmla="*/ 0 h 6858000"/>
              <a:gd name="connsiteX2" fmla="*/ 6255657 w 6729819"/>
              <a:gd name="connsiteY2" fmla="*/ 3352800 h 6858000"/>
              <a:gd name="connsiteX3" fmla="*/ 6270171 w 6729819"/>
              <a:gd name="connsiteY3" fmla="*/ 6858000 h 6858000"/>
              <a:gd name="connsiteX4" fmla="*/ 0 w 6729819"/>
              <a:gd name="connsiteY4" fmla="*/ 6858000 h 6858000"/>
              <a:gd name="connsiteX5" fmla="*/ 0 w 6729819"/>
              <a:gd name="connsiteY5" fmla="*/ 0 h 6858000"/>
              <a:gd name="connsiteX0" fmla="*/ 0 w 6526122"/>
              <a:gd name="connsiteY0" fmla="*/ 0 h 6858000"/>
              <a:gd name="connsiteX1" fmla="*/ 6270171 w 6526122"/>
              <a:gd name="connsiteY1" fmla="*/ 0 h 6858000"/>
              <a:gd name="connsiteX2" fmla="*/ 4833257 w 6526122"/>
              <a:gd name="connsiteY2" fmla="*/ 3468914 h 6858000"/>
              <a:gd name="connsiteX3" fmla="*/ 6270171 w 6526122"/>
              <a:gd name="connsiteY3" fmla="*/ 6858000 h 6858000"/>
              <a:gd name="connsiteX4" fmla="*/ 0 w 6526122"/>
              <a:gd name="connsiteY4" fmla="*/ 6858000 h 6858000"/>
              <a:gd name="connsiteX5" fmla="*/ 0 w 6526122"/>
              <a:gd name="connsiteY5" fmla="*/ 0 h 6858000"/>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 name="connsiteX5" fmla="*/ 0 w 6539571"/>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3" name="Picture 32" descr="A person standing next to a computer&#10;&#10;Description automatically generated">
            <a:extLst>
              <a:ext uri="{FF2B5EF4-FFF2-40B4-BE49-F238E27FC236}">
                <a16:creationId xmlns:a16="http://schemas.microsoft.com/office/drawing/2014/main" id="{6B0A5532-14D8-42B9-B21F-D0C438D5F188}"/>
              </a:ext>
            </a:extLst>
          </p:cNvPr>
          <p:cNvPicPr>
            <a:picLocks noChangeAspect="1"/>
          </p:cNvPicPr>
          <p:nvPr/>
        </p:nvPicPr>
        <p:blipFill rotWithShape="1">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l="34747" r="1613"/>
          <a:stretch/>
        </p:blipFill>
        <p:spPr>
          <a:xfrm>
            <a:off x="0" y="0"/>
            <a:ext cx="6539571" cy="6858000"/>
          </a:xfrm>
          <a:custGeom>
            <a:avLst/>
            <a:gdLst>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close/>
              </a:path>
            </a:pathLst>
          </a:custGeom>
        </p:spPr>
      </p:pic>
      <p:graphicFrame>
        <p:nvGraphicFramePr>
          <p:cNvPr id="4" name="Object 3" hidden="1">
            <a:extLst>
              <a:ext uri="{FF2B5EF4-FFF2-40B4-BE49-F238E27FC236}">
                <a16:creationId xmlns:a16="http://schemas.microsoft.com/office/drawing/2014/main" id="{8C8FA7AC-B37F-4E1E-AFD9-DAA70D9E71C5}"/>
              </a:ext>
            </a:extLst>
          </p:cNvPr>
          <p:cNvGraphicFramePr>
            <a:graphicFrameLocks noChangeAspect="1"/>
          </p:cNvGraphicFramePr>
          <p:nvPr>
            <p:custDataLst>
              <p:tags r:id="rId1"/>
            </p:custDataLst>
            <p:extLst>
              <p:ext uri="{D42A27DB-BD31-4B8C-83A1-F6EECF244321}">
                <p14:modId xmlns:p14="http://schemas.microsoft.com/office/powerpoint/2010/main" val="2023803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4" name="Rectangle 6">
            <a:extLst>
              <a:ext uri="{FF2B5EF4-FFF2-40B4-BE49-F238E27FC236}">
                <a16:creationId xmlns:a16="http://schemas.microsoft.com/office/drawing/2014/main" id="{B018D872-74EC-4C12-835A-5F484647A850}"/>
              </a:ext>
            </a:extLst>
          </p:cNvPr>
          <p:cNvSpPr/>
          <p:nvPr/>
        </p:nvSpPr>
        <p:spPr>
          <a:xfrm>
            <a:off x="0"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 fmla="*/ 0 w 6270171"/>
              <a:gd name="connsiteY0" fmla="*/ 0 h 6858000"/>
              <a:gd name="connsiteX1" fmla="*/ 6270171 w 6270171"/>
              <a:gd name="connsiteY1" fmla="*/ 0 h 6858000"/>
              <a:gd name="connsiteX2" fmla="*/ 6255657 w 6270171"/>
              <a:gd name="connsiteY2" fmla="*/ 3352800 h 6858000"/>
              <a:gd name="connsiteX3" fmla="*/ 6270171 w 6270171"/>
              <a:gd name="connsiteY3" fmla="*/ 6858000 h 6858000"/>
              <a:gd name="connsiteX4" fmla="*/ 0 w 6270171"/>
              <a:gd name="connsiteY4" fmla="*/ 6858000 h 6858000"/>
              <a:gd name="connsiteX5" fmla="*/ 0 w 6270171"/>
              <a:gd name="connsiteY5" fmla="*/ 0 h 6858000"/>
              <a:gd name="connsiteX0" fmla="*/ 0 w 6729819"/>
              <a:gd name="connsiteY0" fmla="*/ 0 h 6858000"/>
              <a:gd name="connsiteX1" fmla="*/ 6270171 w 6729819"/>
              <a:gd name="connsiteY1" fmla="*/ 0 h 6858000"/>
              <a:gd name="connsiteX2" fmla="*/ 6255657 w 6729819"/>
              <a:gd name="connsiteY2" fmla="*/ 3352800 h 6858000"/>
              <a:gd name="connsiteX3" fmla="*/ 6270171 w 6729819"/>
              <a:gd name="connsiteY3" fmla="*/ 6858000 h 6858000"/>
              <a:gd name="connsiteX4" fmla="*/ 0 w 6729819"/>
              <a:gd name="connsiteY4" fmla="*/ 6858000 h 6858000"/>
              <a:gd name="connsiteX5" fmla="*/ 0 w 6729819"/>
              <a:gd name="connsiteY5" fmla="*/ 0 h 6858000"/>
              <a:gd name="connsiteX0" fmla="*/ 0 w 6526122"/>
              <a:gd name="connsiteY0" fmla="*/ 0 h 6858000"/>
              <a:gd name="connsiteX1" fmla="*/ 6270171 w 6526122"/>
              <a:gd name="connsiteY1" fmla="*/ 0 h 6858000"/>
              <a:gd name="connsiteX2" fmla="*/ 4833257 w 6526122"/>
              <a:gd name="connsiteY2" fmla="*/ 3468914 h 6858000"/>
              <a:gd name="connsiteX3" fmla="*/ 6270171 w 6526122"/>
              <a:gd name="connsiteY3" fmla="*/ 6858000 h 6858000"/>
              <a:gd name="connsiteX4" fmla="*/ 0 w 6526122"/>
              <a:gd name="connsiteY4" fmla="*/ 6858000 h 6858000"/>
              <a:gd name="connsiteX5" fmla="*/ 0 w 6526122"/>
              <a:gd name="connsiteY5" fmla="*/ 0 h 6858000"/>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 name="connsiteX5" fmla="*/ 0 w 6539571"/>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 name="Group 5">
            <a:extLst>
              <a:ext uri="{FF2B5EF4-FFF2-40B4-BE49-F238E27FC236}">
                <a16:creationId xmlns:a16="http://schemas.microsoft.com/office/drawing/2014/main" id="{EC567B02-E541-4F8C-BE3F-4A45F04B721B}"/>
              </a:ext>
            </a:extLst>
          </p:cNvPr>
          <p:cNvGrpSpPr/>
          <p:nvPr/>
        </p:nvGrpSpPr>
        <p:grpSpPr>
          <a:xfrm>
            <a:off x="606306" y="581556"/>
            <a:ext cx="1404809" cy="401860"/>
            <a:chOff x="6673278" y="1829785"/>
            <a:chExt cx="1404809" cy="401860"/>
          </a:xfrm>
          <a:solidFill>
            <a:schemeClr val="bg1"/>
          </a:solidFill>
        </p:grpSpPr>
        <p:sp>
          <p:nvSpPr>
            <p:cNvPr id="13" name="Freeform 254">
              <a:extLst>
                <a:ext uri="{FF2B5EF4-FFF2-40B4-BE49-F238E27FC236}">
                  <a16:creationId xmlns:a16="http://schemas.microsoft.com/office/drawing/2014/main" id="{ABB0E5B3-3CBA-4FFA-966B-63813E6E71B6}"/>
                </a:ext>
              </a:extLst>
            </p:cNvPr>
            <p:cNvSpPr>
              <a:spLocks/>
            </p:cNvSpPr>
            <p:nvPr/>
          </p:nvSpPr>
          <p:spPr bwMode="auto">
            <a:xfrm>
              <a:off x="6673278" y="1833191"/>
              <a:ext cx="195821" cy="309909"/>
            </a:xfrm>
            <a:custGeom>
              <a:avLst/>
              <a:gdLst>
                <a:gd name="T0" fmla="*/ 43 w 61"/>
                <a:gd name="T1" fmla="*/ 47 h 95"/>
                <a:gd name="T2" fmla="*/ 30 w 61"/>
                <a:gd name="T3" fmla="*/ 55 h 95"/>
                <a:gd name="T4" fmla="*/ 11 w 61"/>
                <a:gd name="T5" fmla="*/ 83 h 95"/>
                <a:gd name="T6" fmla="*/ 11 w 61"/>
                <a:gd name="T7" fmla="*/ 85 h 95"/>
                <a:gd name="T8" fmla="*/ 57 w 61"/>
                <a:gd name="T9" fmla="*/ 85 h 95"/>
                <a:gd name="T10" fmla="*/ 60 w 61"/>
                <a:gd name="T11" fmla="*/ 88 h 95"/>
                <a:gd name="T12" fmla="*/ 60 w 61"/>
                <a:gd name="T13" fmla="*/ 93 h 95"/>
                <a:gd name="T14" fmla="*/ 57 w 61"/>
                <a:gd name="T15" fmla="*/ 95 h 95"/>
                <a:gd name="T16" fmla="*/ 3 w 61"/>
                <a:gd name="T17" fmla="*/ 95 h 95"/>
                <a:gd name="T18" fmla="*/ 0 w 61"/>
                <a:gd name="T19" fmla="*/ 93 h 95"/>
                <a:gd name="T20" fmla="*/ 0 w 61"/>
                <a:gd name="T21" fmla="*/ 83 h 95"/>
                <a:gd name="T22" fmla="*/ 21 w 61"/>
                <a:gd name="T23" fmla="*/ 49 h 95"/>
                <a:gd name="T24" fmla="*/ 35 w 61"/>
                <a:gd name="T25" fmla="*/ 40 h 95"/>
                <a:gd name="T26" fmla="*/ 49 w 61"/>
                <a:gd name="T27" fmla="*/ 22 h 95"/>
                <a:gd name="T28" fmla="*/ 28 w 61"/>
                <a:gd name="T29" fmla="*/ 9 h 95"/>
                <a:gd name="T30" fmla="*/ 4 w 61"/>
                <a:gd name="T31" fmla="*/ 11 h 95"/>
                <a:gd name="T32" fmla="*/ 3 w 61"/>
                <a:gd name="T33" fmla="*/ 11 h 95"/>
                <a:gd name="T34" fmla="*/ 1 w 61"/>
                <a:gd name="T35" fmla="*/ 9 h 95"/>
                <a:gd name="T36" fmla="*/ 1 w 61"/>
                <a:gd name="T37" fmla="*/ 4 h 95"/>
                <a:gd name="T38" fmla="*/ 4 w 61"/>
                <a:gd name="T39" fmla="*/ 2 h 95"/>
                <a:gd name="T40" fmla="*/ 28 w 61"/>
                <a:gd name="T41" fmla="*/ 0 h 95"/>
                <a:gd name="T42" fmla="*/ 61 w 61"/>
                <a:gd name="T43" fmla="*/ 22 h 95"/>
                <a:gd name="T44" fmla="*/ 43 w 61"/>
                <a:gd name="T45" fmla="*/ 47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1" h="95">
                  <a:moveTo>
                    <a:pt x="43" y="47"/>
                  </a:moveTo>
                  <a:cubicBezTo>
                    <a:pt x="30" y="55"/>
                    <a:pt x="30" y="55"/>
                    <a:pt x="30" y="55"/>
                  </a:cubicBezTo>
                  <a:cubicBezTo>
                    <a:pt x="15" y="65"/>
                    <a:pt x="11" y="72"/>
                    <a:pt x="11" y="83"/>
                  </a:cubicBezTo>
                  <a:cubicBezTo>
                    <a:pt x="11" y="85"/>
                    <a:pt x="11" y="85"/>
                    <a:pt x="11" y="85"/>
                  </a:cubicBezTo>
                  <a:cubicBezTo>
                    <a:pt x="57" y="85"/>
                    <a:pt x="57" y="85"/>
                    <a:pt x="57" y="85"/>
                  </a:cubicBezTo>
                  <a:cubicBezTo>
                    <a:pt x="59" y="85"/>
                    <a:pt x="60" y="86"/>
                    <a:pt x="60" y="88"/>
                  </a:cubicBezTo>
                  <a:cubicBezTo>
                    <a:pt x="60" y="93"/>
                    <a:pt x="60" y="93"/>
                    <a:pt x="60" y="93"/>
                  </a:cubicBezTo>
                  <a:cubicBezTo>
                    <a:pt x="60" y="95"/>
                    <a:pt x="59" y="95"/>
                    <a:pt x="57" y="95"/>
                  </a:cubicBezTo>
                  <a:cubicBezTo>
                    <a:pt x="3" y="95"/>
                    <a:pt x="3" y="95"/>
                    <a:pt x="3" y="95"/>
                  </a:cubicBezTo>
                  <a:cubicBezTo>
                    <a:pt x="1" y="95"/>
                    <a:pt x="0" y="94"/>
                    <a:pt x="0" y="93"/>
                  </a:cubicBezTo>
                  <a:cubicBezTo>
                    <a:pt x="0" y="83"/>
                    <a:pt x="0" y="83"/>
                    <a:pt x="0" y="83"/>
                  </a:cubicBezTo>
                  <a:cubicBezTo>
                    <a:pt x="0" y="69"/>
                    <a:pt x="6" y="58"/>
                    <a:pt x="21" y="49"/>
                  </a:cubicBezTo>
                  <a:cubicBezTo>
                    <a:pt x="35" y="40"/>
                    <a:pt x="35" y="40"/>
                    <a:pt x="35" y="40"/>
                  </a:cubicBezTo>
                  <a:cubicBezTo>
                    <a:pt x="46" y="33"/>
                    <a:pt x="49" y="30"/>
                    <a:pt x="49" y="22"/>
                  </a:cubicBezTo>
                  <a:cubicBezTo>
                    <a:pt x="49" y="13"/>
                    <a:pt x="43" y="9"/>
                    <a:pt x="28" y="9"/>
                  </a:cubicBezTo>
                  <a:cubicBezTo>
                    <a:pt x="21" y="9"/>
                    <a:pt x="12" y="10"/>
                    <a:pt x="4" y="11"/>
                  </a:cubicBezTo>
                  <a:cubicBezTo>
                    <a:pt x="4" y="11"/>
                    <a:pt x="4" y="11"/>
                    <a:pt x="3" y="11"/>
                  </a:cubicBezTo>
                  <a:cubicBezTo>
                    <a:pt x="2" y="11"/>
                    <a:pt x="1" y="10"/>
                    <a:pt x="1" y="9"/>
                  </a:cubicBezTo>
                  <a:cubicBezTo>
                    <a:pt x="1" y="4"/>
                    <a:pt x="1" y="4"/>
                    <a:pt x="1" y="4"/>
                  </a:cubicBezTo>
                  <a:cubicBezTo>
                    <a:pt x="1" y="3"/>
                    <a:pt x="3" y="2"/>
                    <a:pt x="4" y="2"/>
                  </a:cubicBezTo>
                  <a:cubicBezTo>
                    <a:pt x="11" y="0"/>
                    <a:pt x="20" y="0"/>
                    <a:pt x="28" y="0"/>
                  </a:cubicBezTo>
                  <a:cubicBezTo>
                    <a:pt x="51" y="0"/>
                    <a:pt x="61" y="7"/>
                    <a:pt x="61" y="22"/>
                  </a:cubicBezTo>
                  <a:cubicBezTo>
                    <a:pt x="61" y="33"/>
                    <a:pt x="56" y="39"/>
                    <a:pt x="43"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Freeform 255">
              <a:extLst>
                <a:ext uri="{FF2B5EF4-FFF2-40B4-BE49-F238E27FC236}">
                  <a16:creationId xmlns:a16="http://schemas.microsoft.com/office/drawing/2014/main" id="{DEC60BE9-CAE5-4D78-8B29-81F4F5142627}"/>
                </a:ext>
              </a:extLst>
            </p:cNvPr>
            <p:cNvSpPr>
              <a:spLocks noEditPoints="1"/>
            </p:cNvSpPr>
            <p:nvPr/>
          </p:nvSpPr>
          <p:spPr bwMode="auto">
            <a:xfrm>
              <a:off x="6785663" y="1904708"/>
              <a:ext cx="226472" cy="326937"/>
            </a:xfrm>
            <a:custGeom>
              <a:avLst/>
              <a:gdLst>
                <a:gd name="T0" fmla="*/ 68 w 70"/>
                <a:gd name="T1" fmla="*/ 74 h 100"/>
                <a:gd name="T2" fmla="*/ 56 w 70"/>
                <a:gd name="T3" fmla="*/ 74 h 100"/>
                <a:gd name="T4" fmla="*/ 56 w 70"/>
                <a:gd name="T5" fmla="*/ 98 h 100"/>
                <a:gd name="T6" fmla="*/ 54 w 70"/>
                <a:gd name="T7" fmla="*/ 100 h 100"/>
                <a:gd name="T8" fmla="*/ 46 w 70"/>
                <a:gd name="T9" fmla="*/ 100 h 100"/>
                <a:gd name="T10" fmla="*/ 44 w 70"/>
                <a:gd name="T11" fmla="*/ 98 h 100"/>
                <a:gd name="T12" fmla="*/ 44 w 70"/>
                <a:gd name="T13" fmla="*/ 74 h 100"/>
                <a:gd name="T14" fmla="*/ 5 w 70"/>
                <a:gd name="T15" fmla="*/ 74 h 100"/>
                <a:gd name="T16" fmla="*/ 0 w 70"/>
                <a:gd name="T17" fmla="*/ 68 h 100"/>
                <a:gd name="T18" fmla="*/ 0 w 70"/>
                <a:gd name="T19" fmla="*/ 63 h 100"/>
                <a:gd name="T20" fmla="*/ 1 w 70"/>
                <a:gd name="T21" fmla="*/ 58 h 100"/>
                <a:gd name="T22" fmla="*/ 41 w 70"/>
                <a:gd name="T23" fmla="*/ 2 h 100"/>
                <a:gd name="T24" fmla="*/ 45 w 70"/>
                <a:gd name="T25" fmla="*/ 0 h 100"/>
                <a:gd name="T26" fmla="*/ 52 w 70"/>
                <a:gd name="T27" fmla="*/ 0 h 100"/>
                <a:gd name="T28" fmla="*/ 56 w 70"/>
                <a:gd name="T29" fmla="*/ 3 h 100"/>
                <a:gd name="T30" fmla="*/ 56 w 70"/>
                <a:gd name="T31" fmla="*/ 63 h 100"/>
                <a:gd name="T32" fmla="*/ 68 w 70"/>
                <a:gd name="T33" fmla="*/ 63 h 100"/>
                <a:gd name="T34" fmla="*/ 70 w 70"/>
                <a:gd name="T35" fmla="*/ 66 h 100"/>
                <a:gd name="T36" fmla="*/ 70 w 70"/>
                <a:gd name="T37" fmla="*/ 71 h 100"/>
                <a:gd name="T38" fmla="*/ 68 w 70"/>
                <a:gd name="T39" fmla="*/ 74 h 100"/>
                <a:gd name="T40" fmla="*/ 44 w 70"/>
                <a:gd name="T41" fmla="*/ 17 h 100"/>
                <a:gd name="T42" fmla="*/ 43 w 70"/>
                <a:gd name="T43" fmla="*/ 17 h 100"/>
                <a:gd name="T44" fmla="*/ 43 w 70"/>
                <a:gd name="T45" fmla="*/ 17 h 100"/>
                <a:gd name="T46" fmla="*/ 42 w 70"/>
                <a:gd name="T47" fmla="*/ 17 h 100"/>
                <a:gd name="T48" fmla="*/ 11 w 70"/>
                <a:gd name="T49" fmla="*/ 61 h 100"/>
                <a:gd name="T50" fmla="*/ 11 w 70"/>
                <a:gd name="T51" fmla="*/ 63 h 100"/>
                <a:gd name="T52" fmla="*/ 12 w 70"/>
                <a:gd name="T53" fmla="*/ 63 h 100"/>
                <a:gd name="T54" fmla="*/ 44 w 70"/>
                <a:gd name="T55" fmla="*/ 63 h 100"/>
                <a:gd name="T56" fmla="*/ 44 w 70"/>
                <a:gd name="T57" fmla="*/ 17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 h="100">
                  <a:moveTo>
                    <a:pt x="68" y="74"/>
                  </a:moveTo>
                  <a:cubicBezTo>
                    <a:pt x="56" y="74"/>
                    <a:pt x="56" y="74"/>
                    <a:pt x="56" y="74"/>
                  </a:cubicBezTo>
                  <a:cubicBezTo>
                    <a:pt x="56" y="98"/>
                    <a:pt x="56" y="98"/>
                    <a:pt x="56" y="98"/>
                  </a:cubicBezTo>
                  <a:cubicBezTo>
                    <a:pt x="56" y="99"/>
                    <a:pt x="55" y="100"/>
                    <a:pt x="54" y="100"/>
                  </a:cubicBezTo>
                  <a:cubicBezTo>
                    <a:pt x="46" y="100"/>
                    <a:pt x="46" y="100"/>
                    <a:pt x="46" y="100"/>
                  </a:cubicBezTo>
                  <a:cubicBezTo>
                    <a:pt x="44" y="100"/>
                    <a:pt x="44" y="99"/>
                    <a:pt x="44" y="98"/>
                  </a:cubicBezTo>
                  <a:cubicBezTo>
                    <a:pt x="44" y="74"/>
                    <a:pt x="44" y="74"/>
                    <a:pt x="44" y="74"/>
                  </a:cubicBezTo>
                  <a:cubicBezTo>
                    <a:pt x="5" y="74"/>
                    <a:pt x="5" y="74"/>
                    <a:pt x="5" y="74"/>
                  </a:cubicBezTo>
                  <a:cubicBezTo>
                    <a:pt x="1" y="74"/>
                    <a:pt x="0" y="72"/>
                    <a:pt x="0" y="68"/>
                  </a:cubicBezTo>
                  <a:cubicBezTo>
                    <a:pt x="0" y="63"/>
                    <a:pt x="0" y="63"/>
                    <a:pt x="0" y="63"/>
                  </a:cubicBezTo>
                  <a:cubicBezTo>
                    <a:pt x="0" y="61"/>
                    <a:pt x="0" y="60"/>
                    <a:pt x="1" y="58"/>
                  </a:cubicBezTo>
                  <a:cubicBezTo>
                    <a:pt x="41" y="2"/>
                    <a:pt x="41" y="2"/>
                    <a:pt x="41" y="2"/>
                  </a:cubicBezTo>
                  <a:cubicBezTo>
                    <a:pt x="41" y="1"/>
                    <a:pt x="42" y="0"/>
                    <a:pt x="45" y="0"/>
                  </a:cubicBezTo>
                  <a:cubicBezTo>
                    <a:pt x="52" y="0"/>
                    <a:pt x="52" y="0"/>
                    <a:pt x="52" y="0"/>
                  </a:cubicBezTo>
                  <a:cubicBezTo>
                    <a:pt x="55" y="0"/>
                    <a:pt x="56" y="1"/>
                    <a:pt x="56" y="3"/>
                  </a:cubicBezTo>
                  <a:cubicBezTo>
                    <a:pt x="56" y="63"/>
                    <a:pt x="56" y="63"/>
                    <a:pt x="56" y="63"/>
                  </a:cubicBezTo>
                  <a:cubicBezTo>
                    <a:pt x="68" y="63"/>
                    <a:pt x="68" y="63"/>
                    <a:pt x="68" y="63"/>
                  </a:cubicBezTo>
                  <a:cubicBezTo>
                    <a:pt x="69" y="63"/>
                    <a:pt x="70" y="64"/>
                    <a:pt x="70" y="66"/>
                  </a:cubicBezTo>
                  <a:cubicBezTo>
                    <a:pt x="70" y="71"/>
                    <a:pt x="70" y="71"/>
                    <a:pt x="70" y="71"/>
                  </a:cubicBezTo>
                  <a:cubicBezTo>
                    <a:pt x="70" y="73"/>
                    <a:pt x="69" y="74"/>
                    <a:pt x="68" y="74"/>
                  </a:cubicBezTo>
                  <a:close/>
                  <a:moveTo>
                    <a:pt x="44" y="17"/>
                  </a:moveTo>
                  <a:cubicBezTo>
                    <a:pt x="44" y="17"/>
                    <a:pt x="44" y="17"/>
                    <a:pt x="43" y="17"/>
                  </a:cubicBezTo>
                  <a:cubicBezTo>
                    <a:pt x="43" y="17"/>
                    <a:pt x="43" y="17"/>
                    <a:pt x="43" y="17"/>
                  </a:cubicBezTo>
                  <a:cubicBezTo>
                    <a:pt x="43" y="17"/>
                    <a:pt x="42" y="17"/>
                    <a:pt x="42" y="17"/>
                  </a:cubicBezTo>
                  <a:cubicBezTo>
                    <a:pt x="11" y="61"/>
                    <a:pt x="11" y="61"/>
                    <a:pt x="11" y="61"/>
                  </a:cubicBezTo>
                  <a:cubicBezTo>
                    <a:pt x="11" y="62"/>
                    <a:pt x="11" y="62"/>
                    <a:pt x="11" y="63"/>
                  </a:cubicBezTo>
                  <a:cubicBezTo>
                    <a:pt x="11" y="63"/>
                    <a:pt x="11" y="63"/>
                    <a:pt x="12" y="63"/>
                  </a:cubicBezTo>
                  <a:cubicBezTo>
                    <a:pt x="44" y="63"/>
                    <a:pt x="44" y="63"/>
                    <a:pt x="44" y="63"/>
                  </a:cubicBezTo>
                  <a:lnTo>
                    <a:pt x="44"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Freeform 256">
              <a:extLst>
                <a:ext uri="{FF2B5EF4-FFF2-40B4-BE49-F238E27FC236}">
                  <a16:creationId xmlns:a16="http://schemas.microsoft.com/office/drawing/2014/main" id="{2BECE424-3B4F-4116-962C-70ECFD21E35F}"/>
                </a:ext>
              </a:extLst>
            </p:cNvPr>
            <p:cNvSpPr>
              <a:spLocks/>
            </p:cNvSpPr>
            <p:nvPr/>
          </p:nvSpPr>
          <p:spPr bwMode="auto">
            <a:xfrm>
              <a:off x="7253932" y="1833191"/>
              <a:ext cx="37462" cy="313315"/>
            </a:xfrm>
            <a:custGeom>
              <a:avLst/>
              <a:gdLst>
                <a:gd name="T0" fmla="*/ 11 w 12"/>
                <a:gd name="T1" fmla="*/ 95 h 96"/>
                <a:gd name="T2" fmla="*/ 10 w 12"/>
                <a:gd name="T3" fmla="*/ 96 h 96"/>
                <a:gd name="T4" fmla="*/ 3 w 12"/>
                <a:gd name="T5" fmla="*/ 96 h 96"/>
                <a:gd name="T6" fmla="*/ 1 w 12"/>
                <a:gd name="T7" fmla="*/ 95 h 96"/>
                <a:gd name="T8" fmla="*/ 0 w 12"/>
                <a:gd name="T9" fmla="*/ 93 h 96"/>
                <a:gd name="T10" fmla="*/ 0 w 12"/>
                <a:gd name="T11" fmla="*/ 2 h 96"/>
                <a:gd name="T12" fmla="*/ 1 w 12"/>
                <a:gd name="T13" fmla="*/ 1 h 96"/>
                <a:gd name="T14" fmla="*/ 3 w 12"/>
                <a:gd name="T15" fmla="*/ 0 h 96"/>
                <a:gd name="T16" fmla="*/ 10 w 12"/>
                <a:gd name="T17" fmla="*/ 0 h 96"/>
                <a:gd name="T18" fmla="*/ 11 w 12"/>
                <a:gd name="T19" fmla="*/ 1 h 96"/>
                <a:gd name="T20" fmla="*/ 12 w 12"/>
                <a:gd name="T21" fmla="*/ 2 h 96"/>
                <a:gd name="T22" fmla="*/ 12 w 12"/>
                <a:gd name="T23" fmla="*/ 93 h 96"/>
                <a:gd name="T24" fmla="*/ 11 w 12"/>
                <a:gd name="T25" fmla="*/ 9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96">
                  <a:moveTo>
                    <a:pt x="11" y="95"/>
                  </a:moveTo>
                  <a:cubicBezTo>
                    <a:pt x="11" y="95"/>
                    <a:pt x="10" y="96"/>
                    <a:pt x="10" y="96"/>
                  </a:cubicBezTo>
                  <a:cubicBezTo>
                    <a:pt x="3" y="96"/>
                    <a:pt x="3" y="96"/>
                    <a:pt x="3" y="96"/>
                  </a:cubicBezTo>
                  <a:cubicBezTo>
                    <a:pt x="2" y="96"/>
                    <a:pt x="1" y="95"/>
                    <a:pt x="1" y="95"/>
                  </a:cubicBezTo>
                  <a:cubicBezTo>
                    <a:pt x="0" y="94"/>
                    <a:pt x="0" y="94"/>
                    <a:pt x="0" y="93"/>
                  </a:cubicBezTo>
                  <a:cubicBezTo>
                    <a:pt x="0" y="2"/>
                    <a:pt x="0" y="2"/>
                    <a:pt x="0" y="2"/>
                  </a:cubicBezTo>
                  <a:cubicBezTo>
                    <a:pt x="0" y="2"/>
                    <a:pt x="0" y="1"/>
                    <a:pt x="1" y="1"/>
                  </a:cubicBezTo>
                  <a:cubicBezTo>
                    <a:pt x="1" y="0"/>
                    <a:pt x="2" y="0"/>
                    <a:pt x="3" y="0"/>
                  </a:cubicBezTo>
                  <a:cubicBezTo>
                    <a:pt x="10" y="0"/>
                    <a:pt x="10" y="0"/>
                    <a:pt x="10" y="0"/>
                  </a:cubicBezTo>
                  <a:cubicBezTo>
                    <a:pt x="10" y="0"/>
                    <a:pt x="11" y="0"/>
                    <a:pt x="11" y="1"/>
                  </a:cubicBezTo>
                  <a:cubicBezTo>
                    <a:pt x="12" y="1"/>
                    <a:pt x="12" y="2"/>
                    <a:pt x="12" y="2"/>
                  </a:cubicBezTo>
                  <a:cubicBezTo>
                    <a:pt x="12" y="93"/>
                    <a:pt x="12" y="93"/>
                    <a:pt x="12" y="93"/>
                  </a:cubicBezTo>
                  <a:cubicBezTo>
                    <a:pt x="12" y="94"/>
                    <a:pt x="12" y="94"/>
                    <a:pt x="11"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Freeform 257">
              <a:extLst>
                <a:ext uri="{FF2B5EF4-FFF2-40B4-BE49-F238E27FC236}">
                  <a16:creationId xmlns:a16="http://schemas.microsoft.com/office/drawing/2014/main" id="{68801E17-5DC2-4128-AED8-FE46F73EF359}"/>
                </a:ext>
              </a:extLst>
            </p:cNvPr>
            <p:cNvSpPr>
              <a:spLocks noEditPoints="1"/>
            </p:cNvSpPr>
            <p:nvPr/>
          </p:nvSpPr>
          <p:spPr bwMode="auto">
            <a:xfrm>
              <a:off x="7359506" y="1829785"/>
              <a:ext cx="39164" cy="316720"/>
            </a:xfrm>
            <a:custGeom>
              <a:avLst/>
              <a:gdLst>
                <a:gd name="T0" fmla="*/ 11 w 12"/>
                <a:gd name="T1" fmla="*/ 15 h 97"/>
                <a:gd name="T2" fmla="*/ 9 w 12"/>
                <a:gd name="T3" fmla="*/ 15 h 97"/>
                <a:gd name="T4" fmla="*/ 3 w 12"/>
                <a:gd name="T5" fmla="*/ 15 h 97"/>
                <a:gd name="T6" fmla="*/ 1 w 12"/>
                <a:gd name="T7" fmla="*/ 15 h 97"/>
                <a:gd name="T8" fmla="*/ 0 w 12"/>
                <a:gd name="T9" fmla="*/ 13 h 97"/>
                <a:gd name="T10" fmla="*/ 0 w 12"/>
                <a:gd name="T11" fmla="*/ 3 h 97"/>
                <a:gd name="T12" fmla="*/ 1 w 12"/>
                <a:gd name="T13" fmla="*/ 1 h 97"/>
                <a:gd name="T14" fmla="*/ 3 w 12"/>
                <a:gd name="T15" fmla="*/ 0 h 97"/>
                <a:gd name="T16" fmla="*/ 9 w 12"/>
                <a:gd name="T17" fmla="*/ 0 h 97"/>
                <a:gd name="T18" fmla="*/ 11 w 12"/>
                <a:gd name="T19" fmla="*/ 1 h 97"/>
                <a:gd name="T20" fmla="*/ 12 w 12"/>
                <a:gd name="T21" fmla="*/ 3 h 97"/>
                <a:gd name="T22" fmla="*/ 12 w 12"/>
                <a:gd name="T23" fmla="*/ 13 h 97"/>
                <a:gd name="T24" fmla="*/ 11 w 12"/>
                <a:gd name="T25" fmla="*/ 15 h 97"/>
                <a:gd name="T26" fmla="*/ 11 w 12"/>
                <a:gd name="T27" fmla="*/ 96 h 97"/>
                <a:gd name="T28" fmla="*/ 9 w 12"/>
                <a:gd name="T29" fmla="*/ 97 h 97"/>
                <a:gd name="T30" fmla="*/ 3 w 12"/>
                <a:gd name="T31" fmla="*/ 97 h 97"/>
                <a:gd name="T32" fmla="*/ 1 w 12"/>
                <a:gd name="T33" fmla="*/ 96 h 97"/>
                <a:gd name="T34" fmla="*/ 0 w 12"/>
                <a:gd name="T35" fmla="*/ 94 h 97"/>
                <a:gd name="T36" fmla="*/ 0 w 12"/>
                <a:gd name="T37" fmla="*/ 29 h 97"/>
                <a:gd name="T38" fmla="*/ 1 w 12"/>
                <a:gd name="T39" fmla="*/ 27 h 97"/>
                <a:gd name="T40" fmla="*/ 3 w 12"/>
                <a:gd name="T41" fmla="*/ 27 h 97"/>
                <a:gd name="T42" fmla="*/ 9 w 12"/>
                <a:gd name="T43" fmla="*/ 27 h 97"/>
                <a:gd name="T44" fmla="*/ 11 w 12"/>
                <a:gd name="T45" fmla="*/ 27 h 97"/>
                <a:gd name="T46" fmla="*/ 12 w 12"/>
                <a:gd name="T47" fmla="*/ 29 h 97"/>
                <a:gd name="T48" fmla="*/ 12 w 12"/>
                <a:gd name="T49" fmla="*/ 94 h 97"/>
                <a:gd name="T50" fmla="*/ 11 w 12"/>
                <a:gd name="T51" fmla="*/ 96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97">
                  <a:moveTo>
                    <a:pt x="11" y="15"/>
                  </a:moveTo>
                  <a:cubicBezTo>
                    <a:pt x="11" y="15"/>
                    <a:pt x="10" y="15"/>
                    <a:pt x="9" y="15"/>
                  </a:cubicBezTo>
                  <a:cubicBezTo>
                    <a:pt x="3" y="15"/>
                    <a:pt x="3" y="15"/>
                    <a:pt x="3" y="15"/>
                  </a:cubicBezTo>
                  <a:cubicBezTo>
                    <a:pt x="2" y="15"/>
                    <a:pt x="1" y="15"/>
                    <a:pt x="1" y="15"/>
                  </a:cubicBezTo>
                  <a:cubicBezTo>
                    <a:pt x="0" y="14"/>
                    <a:pt x="0" y="14"/>
                    <a:pt x="0" y="13"/>
                  </a:cubicBezTo>
                  <a:cubicBezTo>
                    <a:pt x="0" y="3"/>
                    <a:pt x="0" y="3"/>
                    <a:pt x="0" y="3"/>
                  </a:cubicBezTo>
                  <a:cubicBezTo>
                    <a:pt x="0" y="2"/>
                    <a:pt x="0" y="1"/>
                    <a:pt x="1" y="1"/>
                  </a:cubicBezTo>
                  <a:cubicBezTo>
                    <a:pt x="1" y="0"/>
                    <a:pt x="2" y="0"/>
                    <a:pt x="3" y="0"/>
                  </a:cubicBezTo>
                  <a:cubicBezTo>
                    <a:pt x="9" y="0"/>
                    <a:pt x="9" y="0"/>
                    <a:pt x="9" y="0"/>
                  </a:cubicBezTo>
                  <a:cubicBezTo>
                    <a:pt x="10" y="0"/>
                    <a:pt x="11" y="0"/>
                    <a:pt x="11" y="1"/>
                  </a:cubicBezTo>
                  <a:cubicBezTo>
                    <a:pt x="12" y="1"/>
                    <a:pt x="12" y="2"/>
                    <a:pt x="12" y="3"/>
                  </a:cubicBezTo>
                  <a:cubicBezTo>
                    <a:pt x="12" y="13"/>
                    <a:pt x="12" y="13"/>
                    <a:pt x="12" y="13"/>
                  </a:cubicBezTo>
                  <a:cubicBezTo>
                    <a:pt x="12" y="14"/>
                    <a:pt x="12" y="14"/>
                    <a:pt x="11" y="15"/>
                  </a:cubicBezTo>
                  <a:close/>
                  <a:moveTo>
                    <a:pt x="11" y="96"/>
                  </a:moveTo>
                  <a:cubicBezTo>
                    <a:pt x="10" y="96"/>
                    <a:pt x="10" y="97"/>
                    <a:pt x="9" y="97"/>
                  </a:cubicBezTo>
                  <a:cubicBezTo>
                    <a:pt x="3" y="97"/>
                    <a:pt x="3" y="97"/>
                    <a:pt x="3" y="97"/>
                  </a:cubicBezTo>
                  <a:cubicBezTo>
                    <a:pt x="2" y="97"/>
                    <a:pt x="1" y="96"/>
                    <a:pt x="1" y="96"/>
                  </a:cubicBezTo>
                  <a:cubicBezTo>
                    <a:pt x="0" y="95"/>
                    <a:pt x="0" y="95"/>
                    <a:pt x="0" y="94"/>
                  </a:cubicBezTo>
                  <a:cubicBezTo>
                    <a:pt x="0" y="29"/>
                    <a:pt x="0" y="29"/>
                    <a:pt x="0" y="29"/>
                  </a:cubicBezTo>
                  <a:cubicBezTo>
                    <a:pt x="0" y="28"/>
                    <a:pt x="0" y="28"/>
                    <a:pt x="1" y="27"/>
                  </a:cubicBezTo>
                  <a:cubicBezTo>
                    <a:pt x="1" y="27"/>
                    <a:pt x="2" y="27"/>
                    <a:pt x="3" y="27"/>
                  </a:cubicBezTo>
                  <a:cubicBezTo>
                    <a:pt x="9" y="27"/>
                    <a:pt x="9" y="27"/>
                    <a:pt x="9" y="27"/>
                  </a:cubicBezTo>
                  <a:cubicBezTo>
                    <a:pt x="10" y="27"/>
                    <a:pt x="10" y="27"/>
                    <a:pt x="11" y="27"/>
                  </a:cubicBezTo>
                  <a:cubicBezTo>
                    <a:pt x="11" y="28"/>
                    <a:pt x="12" y="28"/>
                    <a:pt x="12" y="29"/>
                  </a:cubicBezTo>
                  <a:cubicBezTo>
                    <a:pt x="12" y="94"/>
                    <a:pt x="12" y="94"/>
                    <a:pt x="12" y="94"/>
                  </a:cubicBezTo>
                  <a:cubicBezTo>
                    <a:pt x="12" y="95"/>
                    <a:pt x="11" y="95"/>
                    <a:pt x="11"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Freeform 258">
              <a:extLst>
                <a:ext uri="{FF2B5EF4-FFF2-40B4-BE49-F238E27FC236}">
                  <a16:creationId xmlns:a16="http://schemas.microsoft.com/office/drawing/2014/main" id="{CDB95D79-264F-4F5A-BD52-6994610FF466}"/>
                </a:ext>
              </a:extLst>
            </p:cNvPr>
            <p:cNvSpPr>
              <a:spLocks noEditPoints="1"/>
            </p:cNvSpPr>
            <p:nvPr/>
          </p:nvSpPr>
          <p:spPr bwMode="auto">
            <a:xfrm>
              <a:off x="7453160" y="1833191"/>
              <a:ext cx="183902" cy="316720"/>
            </a:xfrm>
            <a:custGeom>
              <a:avLst/>
              <a:gdLst>
                <a:gd name="T0" fmla="*/ 56 w 57"/>
                <a:gd name="T1" fmla="*/ 93 h 97"/>
                <a:gd name="T2" fmla="*/ 54 w 57"/>
                <a:gd name="T3" fmla="*/ 94 h 97"/>
                <a:gd name="T4" fmla="*/ 41 w 57"/>
                <a:gd name="T5" fmla="*/ 96 h 97"/>
                <a:gd name="T6" fmla="*/ 29 w 57"/>
                <a:gd name="T7" fmla="*/ 97 h 97"/>
                <a:gd name="T8" fmla="*/ 16 w 57"/>
                <a:gd name="T9" fmla="*/ 94 h 97"/>
                <a:gd name="T10" fmla="*/ 7 w 57"/>
                <a:gd name="T11" fmla="*/ 88 h 97"/>
                <a:gd name="T12" fmla="*/ 2 w 57"/>
                <a:gd name="T13" fmla="*/ 78 h 97"/>
                <a:gd name="T14" fmla="*/ 0 w 57"/>
                <a:gd name="T15" fmla="*/ 65 h 97"/>
                <a:gd name="T16" fmla="*/ 0 w 57"/>
                <a:gd name="T17" fmla="*/ 56 h 97"/>
                <a:gd name="T18" fmla="*/ 7 w 57"/>
                <a:gd name="T19" fmla="*/ 33 h 97"/>
                <a:gd name="T20" fmla="*/ 29 w 57"/>
                <a:gd name="T21" fmla="*/ 25 h 97"/>
                <a:gd name="T22" fmla="*/ 37 w 57"/>
                <a:gd name="T23" fmla="*/ 25 h 97"/>
                <a:gd name="T24" fmla="*/ 45 w 57"/>
                <a:gd name="T25" fmla="*/ 26 h 97"/>
                <a:gd name="T26" fmla="*/ 45 w 57"/>
                <a:gd name="T27" fmla="*/ 2 h 97"/>
                <a:gd name="T28" fmla="*/ 46 w 57"/>
                <a:gd name="T29" fmla="*/ 1 h 97"/>
                <a:gd name="T30" fmla="*/ 47 w 57"/>
                <a:gd name="T31" fmla="*/ 0 h 97"/>
                <a:gd name="T32" fmla="*/ 54 w 57"/>
                <a:gd name="T33" fmla="*/ 0 h 97"/>
                <a:gd name="T34" fmla="*/ 56 w 57"/>
                <a:gd name="T35" fmla="*/ 1 h 97"/>
                <a:gd name="T36" fmla="*/ 57 w 57"/>
                <a:gd name="T37" fmla="*/ 2 h 97"/>
                <a:gd name="T38" fmla="*/ 57 w 57"/>
                <a:gd name="T39" fmla="*/ 91 h 97"/>
                <a:gd name="T40" fmla="*/ 56 w 57"/>
                <a:gd name="T41" fmla="*/ 93 h 97"/>
                <a:gd name="T42" fmla="*/ 45 w 57"/>
                <a:gd name="T43" fmla="*/ 35 h 97"/>
                <a:gd name="T44" fmla="*/ 37 w 57"/>
                <a:gd name="T45" fmla="*/ 35 h 97"/>
                <a:gd name="T46" fmla="*/ 29 w 57"/>
                <a:gd name="T47" fmla="*/ 35 h 97"/>
                <a:gd name="T48" fmla="*/ 16 w 57"/>
                <a:gd name="T49" fmla="*/ 40 h 97"/>
                <a:gd name="T50" fmla="*/ 12 w 57"/>
                <a:gd name="T51" fmla="*/ 56 h 97"/>
                <a:gd name="T52" fmla="*/ 12 w 57"/>
                <a:gd name="T53" fmla="*/ 65 h 97"/>
                <a:gd name="T54" fmla="*/ 16 w 57"/>
                <a:gd name="T55" fmla="*/ 81 h 97"/>
                <a:gd name="T56" fmla="*/ 29 w 57"/>
                <a:gd name="T57" fmla="*/ 87 h 97"/>
                <a:gd name="T58" fmla="*/ 37 w 57"/>
                <a:gd name="T59" fmla="*/ 86 h 97"/>
                <a:gd name="T60" fmla="*/ 45 w 57"/>
                <a:gd name="T61" fmla="*/ 86 h 97"/>
                <a:gd name="T62" fmla="*/ 45 w 57"/>
                <a:gd name="T63" fmla="*/ 3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97">
                  <a:moveTo>
                    <a:pt x="56" y="93"/>
                  </a:moveTo>
                  <a:cubicBezTo>
                    <a:pt x="56" y="94"/>
                    <a:pt x="55" y="94"/>
                    <a:pt x="54" y="94"/>
                  </a:cubicBezTo>
                  <a:cubicBezTo>
                    <a:pt x="50" y="95"/>
                    <a:pt x="46" y="96"/>
                    <a:pt x="41" y="96"/>
                  </a:cubicBezTo>
                  <a:cubicBezTo>
                    <a:pt x="37" y="96"/>
                    <a:pt x="33" y="97"/>
                    <a:pt x="29" y="97"/>
                  </a:cubicBezTo>
                  <a:cubicBezTo>
                    <a:pt x="24" y="97"/>
                    <a:pt x="20" y="96"/>
                    <a:pt x="16" y="94"/>
                  </a:cubicBezTo>
                  <a:cubicBezTo>
                    <a:pt x="13" y="93"/>
                    <a:pt x="10" y="91"/>
                    <a:pt x="7" y="88"/>
                  </a:cubicBezTo>
                  <a:cubicBezTo>
                    <a:pt x="5" y="85"/>
                    <a:pt x="3" y="82"/>
                    <a:pt x="2" y="78"/>
                  </a:cubicBezTo>
                  <a:cubicBezTo>
                    <a:pt x="1" y="74"/>
                    <a:pt x="0" y="70"/>
                    <a:pt x="0" y="65"/>
                  </a:cubicBezTo>
                  <a:cubicBezTo>
                    <a:pt x="0" y="56"/>
                    <a:pt x="0" y="56"/>
                    <a:pt x="0" y="56"/>
                  </a:cubicBezTo>
                  <a:cubicBezTo>
                    <a:pt x="0" y="46"/>
                    <a:pt x="3" y="38"/>
                    <a:pt x="7" y="33"/>
                  </a:cubicBezTo>
                  <a:cubicBezTo>
                    <a:pt x="12" y="27"/>
                    <a:pt x="19" y="25"/>
                    <a:pt x="29" y="25"/>
                  </a:cubicBezTo>
                  <a:cubicBezTo>
                    <a:pt x="31" y="25"/>
                    <a:pt x="34" y="25"/>
                    <a:pt x="37" y="25"/>
                  </a:cubicBezTo>
                  <a:cubicBezTo>
                    <a:pt x="40" y="25"/>
                    <a:pt x="42" y="26"/>
                    <a:pt x="45" y="26"/>
                  </a:cubicBezTo>
                  <a:cubicBezTo>
                    <a:pt x="45" y="2"/>
                    <a:pt x="45" y="2"/>
                    <a:pt x="45" y="2"/>
                  </a:cubicBezTo>
                  <a:cubicBezTo>
                    <a:pt x="45" y="2"/>
                    <a:pt x="45" y="1"/>
                    <a:pt x="46" y="1"/>
                  </a:cubicBezTo>
                  <a:cubicBezTo>
                    <a:pt x="46" y="0"/>
                    <a:pt x="47" y="0"/>
                    <a:pt x="47" y="0"/>
                  </a:cubicBezTo>
                  <a:cubicBezTo>
                    <a:pt x="54" y="0"/>
                    <a:pt x="54" y="0"/>
                    <a:pt x="54" y="0"/>
                  </a:cubicBezTo>
                  <a:cubicBezTo>
                    <a:pt x="55" y="0"/>
                    <a:pt x="56" y="0"/>
                    <a:pt x="56" y="1"/>
                  </a:cubicBezTo>
                  <a:cubicBezTo>
                    <a:pt x="56" y="1"/>
                    <a:pt x="57" y="2"/>
                    <a:pt x="57" y="2"/>
                  </a:cubicBezTo>
                  <a:cubicBezTo>
                    <a:pt x="57" y="91"/>
                    <a:pt x="57" y="91"/>
                    <a:pt x="57" y="91"/>
                  </a:cubicBezTo>
                  <a:cubicBezTo>
                    <a:pt x="57" y="92"/>
                    <a:pt x="57" y="93"/>
                    <a:pt x="56" y="93"/>
                  </a:cubicBezTo>
                  <a:close/>
                  <a:moveTo>
                    <a:pt x="45" y="35"/>
                  </a:moveTo>
                  <a:cubicBezTo>
                    <a:pt x="43" y="35"/>
                    <a:pt x="40" y="35"/>
                    <a:pt x="37" y="35"/>
                  </a:cubicBezTo>
                  <a:cubicBezTo>
                    <a:pt x="34" y="35"/>
                    <a:pt x="31" y="35"/>
                    <a:pt x="29" y="35"/>
                  </a:cubicBezTo>
                  <a:cubicBezTo>
                    <a:pt x="23" y="35"/>
                    <a:pt x="18" y="36"/>
                    <a:pt x="16" y="40"/>
                  </a:cubicBezTo>
                  <a:cubicBezTo>
                    <a:pt x="13" y="44"/>
                    <a:pt x="12" y="49"/>
                    <a:pt x="12" y="56"/>
                  </a:cubicBezTo>
                  <a:cubicBezTo>
                    <a:pt x="12" y="65"/>
                    <a:pt x="12" y="65"/>
                    <a:pt x="12" y="65"/>
                  </a:cubicBezTo>
                  <a:cubicBezTo>
                    <a:pt x="12" y="72"/>
                    <a:pt x="13" y="77"/>
                    <a:pt x="16" y="81"/>
                  </a:cubicBezTo>
                  <a:cubicBezTo>
                    <a:pt x="18" y="85"/>
                    <a:pt x="23" y="87"/>
                    <a:pt x="29" y="87"/>
                  </a:cubicBezTo>
                  <a:cubicBezTo>
                    <a:pt x="32" y="87"/>
                    <a:pt x="34" y="87"/>
                    <a:pt x="37" y="86"/>
                  </a:cubicBezTo>
                  <a:cubicBezTo>
                    <a:pt x="40" y="86"/>
                    <a:pt x="43" y="86"/>
                    <a:pt x="45" y="86"/>
                  </a:cubicBezTo>
                  <a:lnTo>
                    <a:pt x="45"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Freeform 259">
              <a:extLst>
                <a:ext uri="{FF2B5EF4-FFF2-40B4-BE49-F238E27FC236}">
                  <a16:creationId xmlns:a16="http://schemas.microsoft.com/office/drawing/2014/main" id="{5B1790B1-9A57-41ED-871A-909D4C728656}"/>
                </a:ext>
              </a:extLst>
            </p:cNvPr>
            <p:cNvSpPr>
              <a:spLocks noEditPoints="1"/>
            </p:cNvSpPr>
            <p:nvPr/>
          </p:nvSpPr>
          <p:spPr bwMode="auto">
            <a:xfrm>
              <a:off x="7684741" y="1914925"/>
              <a:ext cx="194119" cy="234986"/>
            </a:xfrm>
            <a:custGeom>
              <a:avLst/>
              <a:gdLst>
                <a:gd name="T0" fmla="*/ 57 w 60"/>
                <a:gd name="T1" fmla="*/ 39 h 72"/>
                <a:gd name="T2" fmla="*/ 12 w 60"/>
                <a:gd name="T3" fmla="*/ 39 h 72"/>
                <a:gd name="T4" fmla="*/ 12 w 60"/>
                <a:gd name="T5" fmla="*/ 41 h 72"/>
                <a:gd name="T6" fmla="*/ 17 w 60"/>
                <a:gd name="T7" fmla="*/ 57 h 72"/>
                <a:gd name="T8" fmla="*/ 31 w 60"/>
                <a:gd name="T9" fmla="*/ 62 h 72"/>
                <a:gd name="T10" fmla="*/ 43 w 60"/>
                <a:gd name="T11" fmla="*/ 61 h 72"/>
                <a:gd name="T12" fmla="*/ 55 w 60"/>
                <a:gd name="T13" fmla="*/ 60 h 72"/>
                <a:gd name="T14" fmla="*/ 55 w 60"/>
                <a:gd name="T15" fmla="*/ 60 h 72"/>
                <a:gd name="T16" fmla="*/ 57 w 60"/>
                <a:gd name="T17" fmla="*/ 61 h 72"/>
                <a:gd name="T18" fmla="*/ 57 w 60"/>
                <a:gd name="T19" fmla="*/ 62 h 72"/>
                <a:gd name="T20" fmla="*/ 57 w 60"/>
                <a:gd name="T21" fmla="*/ 66 h 72"/>
                <a:gd name="T22" fmla="*/ 57 w 60"/>
                <a:gd name="T23" fmla="*/ 68 h 72"/>
                <a:gd name="T24" fmla="*/ 55 w 60"/>
                <a:gd name="T25" fmla="*/ 69 h 72"/>
                <a:gd name="T26" fmla="*/ 43 w 60"/>
                <a:gd name="T27" fmla="*/ 71 h 72"/>
                <a:gd name="T28" fmla="*/ 31 w 60"/>
                <a:gd name="T29" fmla="*/ 72 h 72"/>
                <a:gd name="T30" fmla="*/ 20 w 60"/>
                <a:gd name="T31" fmla="*/ 70 h 72"/>
                <a:gd name="T32" fmla="*/ 10 w 60"/>
                <a:gd name="T33" fmla="*/ 65 h 72"/>
                <a:gd name="T34" fmla="*/ 3 w 60"/>
                <a:gd name="T35" fmla="*/ 56 h 72"/>
                <a:gd name="T36" fmla="*/ 0 w 60"/>
                <a:gd name="T37" fmla="*/ 41 h 72"/>
                <a:gd name="T38" fmla="*/ 0 w 60"/>
                <a:gd name="T39" fmla="*/ 29 h 72"/>
                <a:gd name="T40" fmla="*/ 8 w 60"/>
                <a:gd name="T41" fmla="*/ 8 h 72"/>
                <a:gd name="T42" fmla="*/ 30 w 60"/>
                <a:gd name="T43" fmla="*/ 0 h 72"/>
                <a:gd name="T44" fmla="*/ 43 w 60"/>
                <a:gd name="T45" fmla="*/ 2 h 72"/>
                <a:gd name="T46" fmla="*/ 52 w 60"/>
                <a:gd name="T47" fmla="*/ 8 h 72"/>
                <a:gd name="T48" fmla="*/ 58 w 60"/>
                <a:gd name="T49" fmla="*/ 17 h 72"/>
                <a:gd name="T50" fmla="*/ 60 w 60"/>
                <a:gd name="T51" fmla="*/ 29 h 72"/>
                <a:gd name="T52" fmla="*/ 60 w 60"/>
                <a:gd name="T53" fmla="*/ 36 h 72"/>
                <a:gd name="T54" fmla="*/ 57 w 60"/>
                <a:gd name="T55" fmla="*/ 39 h 72"/>
                <a:gd name="T56" fmla="*/ 48 w 60"/>
                <a:gd name="T57" fmla="*/ 29 h 72"/>
                <a:gd name="T58" fmla="*/ 43 w 60"/>
                <a:gd name="T59" fmla="*/ 14 h 72"/>
                <a:gd name="T60" fmla="*/ 30 w 60"/>
                <a:gd name="T61" fmla="*/ 10 h 72"/>
                <a:gd name="T62" fmla="*/ 17 w 60"/>
                <a:gd name="T63" fmla="*/ 14 h 72"/>
                <a:gd name="T64" fmla="*/ 12 w 60"/>
                <a:gd name="T65" fmla="*/ 29 h 72"/>
                <a:gd name="T66" fmla="*/ 12 w 60"/>
                <a:gd name="T67" fmla="*/ 31 h 72"/>
                <a:gd name="T68" fmla="*/ 48 w 60"/>
                <a:gd name="T69" fmla="*/ 31 h 72"/>
                <a:gd name="T70" fmla="*/ 48 w 60"/>
                <a:gd name="T71" fmla="*/ 2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72">
                  <a:moveTo>
                    <a:pt x="57" y="39"/>
                  </a:moveTo>
                  <a:cubicBezTo>
                    <a:pt x="12" y="39"/>
                    <a:pt x="12" y="39"/>
                    <a:pt x="12" y="39"/>
                  </a:cubicBezTo>
                  <a:cubicBezTo>
                    <a:pt x="12" y="41"/>
                    <a:pt x="12" y="41"/>
                    <a:pt x="12" y="41"/>
                  </a:cubicBezTo>
                  <a:cubicBezTo>
                    <a:pt x="12" y="49"/>
                    <a:pt x="14" y="54"/>
                    <a:pt x="17" y="57"/>
                  </a:cubicBezTo>
                  <a:cubicBezTo>
                    <a:pt x="20" y="60"/>
                    <a:pt x="25" y="62"/>
                    <a:pt x="31" y="62"/>
                  </a:cubicBezTo>
                  <a:cubicBezTo>
                    <a:pt x="35" y="62"/>
                    <a:pt x="39" y="62"/>
                    <a:pt x="43" y="61"/>
                  </a:cubicBezTo>
                  <a:cubicBezTo>
                    <a:pt x="48" y="61"/>
                    <a:pt x="51" y="61"/>
                    <a:pt x="55" y="60"/>
                  </a:cubicBezTo>
                  <a:cubicBezTo>
                    <a:pt x="55" y="60"/>
                    <a:pt x="55" y="60"/>
                    <a:pt x="55" y="60"/>
                  </a:cubicBezTo>
                  <a:cubicBezTo>
                    <a:pt x="56" y="60"/>
                    <a:pt x="56" y="60"/>
                    <a:pt x="57" y="61"/>
                  </a:cubicBezTo>
                  <a:cubicBezTo>
                    <a:pt x="57" y="61"/>
                    <a:pt x="57" y="61"/>
                    <a:pt x="57" y="62"/>
                  </a:cubicBezTo>
                  <a:cubicBezTo>
                    <a:pt x="57" y="66"/>
                    <a:pt x="57" y="66"/>
                    <a:pt x="57" y="66"/>
                  </a:cubicBezTo>
                  <a:cubicBezTo>
                    <a:pt x="57" y="67"/>
                    <a:pt x="57" y="68"/>
                    <a:pt x="57" y="68"/>
                  </a:cubicBezTo>
                  <a:cubicBezTo>
                    <a:pt x="56" y="69"/>
                    <a:pt x="56" y="69"/>
                    <a:pt x="55" y="69"/>
                  </a:cubicBezTo>
                  <a:cubicBezTo>
                    <a:pt x="51" y="70"/>
                    <a:pt x="47" y="71"/>
                    <a:pt x="43" y="71"/>
                  </a:cubicBezTo>
                  <a:cubicBezTo>
                    <a:pt x="39" y="71"/>
                    <a:pt x="35" y="72"/>
                    <a:pt x="31" y="72"/>
                  </a:cubicBezTo>
                  <a:cubicBezTo>
                    <a:pt x="27" y="72"/>
                    <a:pt x="23" y="71"/>
                    <a:pt x="20" y="70"/>
                  </a:cubicBezTo>
                  <a:cubicBezTo>
                    <a:pt x="16" y="69"/>
                    <a:pt x="13" y="67"/>
                    <a:pt x="10" y="65"/>
                  </a:cubicBezTo>
                  <a:cubicBezTo>
                    <a:pt x="7" y="63"/>
                    <a:pt x="5" y="60"/>
                    <a:pt x="3" y="56"/>
                  </a:cubicBezTo>
                  <a:cubicBezTo>
                    <a:pt x="1" y="52"/>
                    <a:pt x="0" y="47"/>
                    <a:pt x="0" y="41"/>
                  </a:cubicBezTo>
                  <a:cubicBezTo>
                    <a:pt x="0" y="29"/>
                    <a:pt x="0" y="29"/>
                    <a:pt x="0" y="29"/>
                  </a:cubicBezTo>
                  <a:cubicBezTo>
                    <a:pt x="0" y="20"/>
                    <a:pt x="3" y="13"/>
                    <a:pt x="8" y="8"/>
                  </a:cubicBezTo>
                  <a:cubicBezTo>
                    <a:pt x="13" y="2"/>
                    <a:pt x="20" y="0"/>
                    <a:pt x="30" y="0"/>
                  </a:cubicBezTo>
                  <a:cubicBezTo>
                    <a:pt x="35" y="0"/>
                    <a:pt x="39" y="0"/>
                    <a:pt x="43" y="2"/>
                  </a:cubicBezTo>
                  <a:cubicBezTo>
                    <a:pt x="47" y="3"/>
                    <a:pt x="50" y="5"/>
                    <a:pt x="52" y="8"/>
                  </a:cubicBezTo>
                  <a:cubicBezTo>
                    <a:pt x="55" y="10"/>
                    <a:pt x="56" y="14"/>
                    <a:pt x="58" y="17"/>
                  </a:cubicBezTo>
                  <a:cubicBezTo>
                    <a:pt x="59" y="21"/>
                    <a:pt x="60" y="25"/>
                    <a:pt x="60" y="29"/>
                  </a:cubicBezTo>
                  <a:cubicBezTo>
                    <a:pt x="60" y="36"/>
                    <a:pt x="60" y="36"/>
                    <a:pt x="60" y="36"/>
                  </a:cubicBezTo>
                  <a:cubicBezTo>
                    <a:pt x="60" y="38"/>
                    <a:pt x="59" y="39"/>
                    <a:pt x="57" y="39"/>
                  </a:cubicBezTo>
                  <a:close/>
                  <a:moveTo>
                    <a:pt x="48" y="29"/>
                  </a:moveTo>
                  <a:cubicBezTo>
                    <a:pt x="48" y="22"/>
                    <a:pt x="46" y="17"/>
                    <a:pt x="43" y="14"/>
                  </a:cubicBezTo>
                  <a:cubicBezTo>
                    <a:pt x="40" y="11"/>
                    <a:pt x="36" y="10"/>
                    <a:pt x="30" y="10"/>
                  </a:cubicBezTo>
                  <a:cubicBezTo>
                    <a:pt x="24" y="10"/>
                    <a:pt x="20" y="11"/>
                    <a:pt x="17" y="14"/>
                  </a:cubicBezTo>
                  <a:cubicBezTo>
                    <a:pt x="14" y="18"/>
                    <a:pt x="12" y="23"/>
                    <a:pt x="12" y="29"/>
                  </a:cubicBezTo>
                  <a:cubicBezTo>
                    <a:pt x="12" y="31"/>
                    <a:pt x="12" y="31"/>
                    <a:pt x="12" y="31"/>
                  </a:cubicBezTo>
                  <a:cubicBezTo>
                    <a:pt x="48" y="31"/>
                    <a:pt x="48" y="31"/>
                    <a:pt x="48" y="31"/>
                  </a:cubicBezTo>
                  <a:lnTo>
                    <a:pt x="48"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Freeform 260">
              <a:extLst>
                <a:ext uri="{FF2B5EF4-FFF2-40B4-BE49-F238E27FC236}">
                  <a16:creationId xmlns:a16="http://schemas.microsoft.com/office/drawing/2014/main" id="{F9B9D26C-2E0F-4749-AF2D-4D0DCD81FEF4}"/>
                </a:ext>
              </a:extLst>
            </p:cNvPr>
            <p:cNvSpPr>
              <a:spLocks/>
            </p:cNvSpPr>
            <p:nvPr/>
          </p:nvSpPr>
          <p:spPr bwMode="auto">
            <a:xfrm>
              <a:off x="7919727" y="1914925"/>
              <a:ext cx="158360" cy="234986"/>
            </a:xfrm>
            <a:custGeom>
              <a:avLst/>
              <a:gdLst>
                <a:gd name="T0" fmla="*/ 49 w 49"/>
                <a:gd name="T1" fmla="*/ 53 h 72"/>
                <a:gd name="T2" fmla="*/ 42 w 49"/>
                <a:gd name="T3" fmla="*/ 67 h 72"/>
                <a:gd name="T4" fmla="*/ 24 w 49"/>
                <a:gd name="T5" fmla="*/ 72 h 72"/>
                <a:gd name="T6" fmla="*/ 20 w 49"/>
                <a:gd name="T7" fmla="*/ 71 h 72"/>
                <a:gd name="T8" fmla="*/ 14 w 49"/>
                <a:gd name="T9" fmla="*/ 71 h 72"/>
                <a:gd name="T10" fmla="*/ 8 w 49"/>
                <a:gd name="T11" fmla="*/ 70 h 72"/>
                <a:gd name="T12" fmla="*/ 3 w 49"/>
                <a:gd name="T13" fmla="*/ 70 h 72"/>
                <a:gd name="T14" fmla="*/ 0 w 49"/>
                <a:gd name="T15" fmla="*/ 67 h 72"/>
                <a:gd name="T16" fmla="*/ 0 w 49"/>
                <a:gd name="T17" fmla="*/ 63 h 72"/>
                <a:gd name="T18" fmla="*/ 1 w 49"/>
                <a:gd name="T19" fmla="*/ 61 h 72"/>
                <a:gd name="T20" fmla="*/ 3 w 49"/>
                <a:gd name="T21" fmla="*/ 61 h 72"/>
                <a:gd name="T22" fmla="*/ 3 w 49"/>
                <a:gd name="T23" fmla="*/ 61 h 72"/>
                <a:gd name="T24" fmla="*/ 8 w 49"/>
                <a:gd name="T25" fmla="*/ 61 h 72"/>
                <a:gd name="T26" fmla="*/ 14 w 49"/>
                <a:gd name="T27" fmla="*/ 62 h 72"/>
                <a:gd name="T28" fmla="*/ 20 w 49"/>
                <a:gd name="T29" fmla="*/ 62 h 72"/>
                <a:gd name="T30" fmla="*/ 24 w 49"/>
                <a:gd name="T31" fmla="*/ 62 h 72"/>
                <a:gd name="T32" fmla="*/ 34 w 49"/>
                <a:gd name="T33" fmla="*/ 60 h 72"/>
                <a:gd name="T34" fmla="*/ 37 w 49"/>
                <a:gd name="T35" fmla="*/ 53 h 72"/>
                <a:gd name="T36" fmla="*/ 35 w 49"/>
                <a:gd name="T37" fmla="*/ 48 h 72"/>
                <a:gd name="T38" fmla="*/ 27 w 49"/>
                <a:gd name="T39" fmla="*/ 42 h 72"/>
                <a:gd name="T40" fmla="*/ 14 w 49"/>
                <a:gd name="T41" fmla="*/ 35 h 72"/>
                <a:gd name="T42" fmla="*/ 4 w 49"/>
                <a:gd name="T43" fmla="*/ 27 h 72"/>
                <a:gd name="T44" fmla="*/ 0 w 49"/>
                <a:gd name="T45" fmla="*/ 17 h 72"/>
                <a:gd name="T46" fmla="*/ 2 w 49"/>
                <a:gd name="T47" fmla="*/ 8 h 72"/>
                <a:gd name="T48" fmla="*/ 7 w 49"/>
                <a:gd name="T49" fmla="*/ 3 h 72"/>
                <a:gd name="T50" fmla="*/ 15 w 49"/>
                <a:gd name="T51" fmla="*/ 0 h 72"/>
                <a:gd name="T52" fmla="*/ 24 w 49"/>
                <a:gd name="T53" fmla="*/ 0 h 72"/>
                <a:gd name="T54" fmla="*/ 35 w 49"/>
                <a:gd name="T55" fmla="*/ 0 h 72"/>
                <a:gd name="T56" fmla="*/ 45 w 49"/>
                <a:gd name="T57" fmla="*/ 1 h 72"/>
                <a:gd name="T58" fmla="*/ 48 w 49"/>
                <a:gd name="T59" fmla="*/ 4 h 72"/>
                <a:gd name="T60" fmla="*/ 48 w 49"/>
                <a:gd name="T61" fmla="*/ 8 h 72"/>
                <a:gd name="T62" fmla="*/ 45 w 49"/>
                <a:gd name="T63" fmla="*/ 10 h 72"/>
                <a:gd name="T64" fmla="*/ 45 w 49"/>
                <a:gd name="T65" fmla="*/ 10 h 72"/>
                <a:gd name="T66" fmla="*/ 36 w 49"/>
                <a:gd name="T67" fmla="*/ 10 h 72"/>
                <a:gd name="T68" fmla="*/ 24 w 49"/>
                <a:gd name="T69" fmla="*/ 9 h 72"/>
                <a:gd name="T70" fmla="*/ 15 w 49"/>
                <a:gd name="T71" fmla="*/ 11 h 72"/>
                <a:gd name="T72" fmla="*/ 12 w 49"/>
                <a:gd name="T73" fmla="*/ 17 h 72"/>
                <a:gd name="T74" fmla="*/ 14 w 49"/>
                <a:gd name="T75" fmla="*/ 22 h 72"/>
                <a:gd name="T76" fmla="*/ 21 w 49"/>
                <a:gd name="T77" fmla="*/ 26 h 72"/>
                <a:gd name="T78" fmla="*/ 34 w 49"/>
                <a:gd name="T79" fmla="*/ 34 h 72"/>
                <a:gd name="T80" fmla="*/ 46 w 49"/>
                <a:gd name="T81" fmla="*/ 43 h 72"/>
                <a:gd name="T82" fmla="*/ 49 w 49"/>
                <a:gd name="T83" fmla="*/ 53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9" h="72">
                  <a:moveTo>
                    <a:pt x="49" y="53"/>
                  </a:moveTo>
                  <a:cubicBezTo>
                    <a:pt x="49" y="59"/>
                    <a:pt x="47" y="64"/>
                    <a:pt x="42" y="67"/>
                  </a:cubicBezTo>
                  <a:cubicBezTo>
                    <a:pt x="38" y="70"/>
                    <a:pt x="32" y="72"/>
                    <a:pt x="24" y="72"/>
                  </a:cubicBezTo>
                  <a:cubicBezTo>
                    <a:pt x="23" y="72"/>
                    <a:pt x="21" y="71"/>
                    <a:pt x="20" y="71"/>
                  </a:cubicBezTo>
                  <a:cubicBezTo>
                    <a:pt x="18" y="71"/>
                    <a:pt x="16" y="71"/>
                    <a:pt x="14" y="71"/>
                  </a:cubicBezTo>
                  <a:cubicBezTo>
                    <a:pt x="12" y="71"/>
                    <a:pt x="10" y="71"/>
                    <a:pt x="8" y="70"/>
                  </a:cubicBezTo>
                  <a:cubicBezTo>
                    <a:pt x="6" y="70"/>
                    <a:pt x="5" y="70"/>
                    <a:pt x="3" y="70"/>
                  </a:cubicBezTo>
                  <a:cubicBezTo>
                    <a:pt x="1" y="69"/>
                    <a:pt x="0" y="68"/>
                    <a:pt x="0" y="67"/>
                  </a:cubicBezTo>
                  <a:cubicBezTo>
                    <a:pt x="0" y="63"/>
                    <a:pt x="0" y="63"/>
                    <a:pt x="0" y="63"/>
                  </a:cubicBezTo>
                  <a:cubicBezTo>
                    <a:pt x="0" y="62"/>
                    <a:pt x="0" y="62"/>
                    <a:pt x="1" y="61"/>
                  </a:cubicBezTo>
                  <a:cubicBezTo>
                    <a:pt x="1" y="61"/>
                    <a:pt x="2" y="61"/>
                    <a:pt x="3" y="61"/>
                  </a:cubicBezTo>
                  <a:cubicBezTo>
                    <a:pt x="3" y="61"/>
                    <a:pt x="3" y="61"/>
                    <a:pt x="3" y="61"/>
                  </a:cubicBezTo>
                  <a:cubicBezTo>
                    <a:pt x="5" y="61"/>
                    <a:pt x="6" y="61"/>
                    <a:pt x="8" y="61"/>
                  </a:cubicBezTo>
                  <a:cubicBezTo>
                    <a:pt x="10" y="61"/>
                    <a:pt x="12" y="62"/>
                    <a:pt x="14" y="62"/>
                  </a:cubicBezTo>
                  <a:cubicBezTo>
                    <a:pt x="16" y="62"/>
                    <a:pt x="18" y="62"/>
                    <a:pt x="20" y="62"/>
                  </a:cubicBezTo>
                  <a:cubicBezTo>
                    <a:pt x="21" y="62"/>
                    <a:pt x="23" y="62"/>
                    <a:pt x="24" y="62"/>
                  </a:cubicBezTo>
                  <a:cubicBezTo>
                    <a:pt x="28" y="62"/>
                    <a:pt x="32" y="61"/>
                    <a:pt x="34" y="60"/>
                  </a:cubicBezTo>
                  <a:cubicBezTo>
                    <a:pt x="36" y="59"/>
                    <a:pt x="37" y="57"/>
                    <a:pt x="37" y="53"/>
                  </a:cubicBezTo>
                  <a:cubicBezTo>
                    <a:pt x="37" y="51"/>
                    <a:pt x="37" y="49"/>
                    <a:pt x="35" y="48"/>
                  </a:cubicBezTo>
                  <a:cubicBezTo>
                    <a:pt x="34" y="47"/>
                    <a:pt x="31" y="45"/>
                    <a:pt x="27" y="42"/>
                  </a:cubicBezTo>
                  <a:cubicBezTo>
                    <a:pt x="14" y="35"/>
                    <a:pt x="14" y="35"/>
                    <a:pt x="14" y="35"/>
                  </a:cubicBezTo>
                  <a:cubicBezTo>
                    <a:pt x="10" y="32"/>
                    <a:pt x="6" y="30"/>
                    <a:pt x="4" y="27"/>
                  </a:cubicBezTo>
                  <a:cubicBezTo>
                    <a:pt x="1" y="24"/>
                    <a:pt x="0" y="21"/>
                    <a:pt x="0" y="17"/>
                  </a:cubicBezTo>
                  <a:cubicBezTo>
                    <a:pt x="0" y="13"/>
                    <a:pt x="1" y="11"/>
                    <a:pt x="2" y="8"/>
                  </a:cubicBezTo>
                  <a:cubicBezTo>
                    <a:pt x="3" y="6"/>
                    <a:pt x="5" y="5"/>
                    <a:pt x="7" y="3"/>
                  </a:cubicBezTo>
                  <a:cubicBezTo>
                    <a:pt x="9" y="2"/>
                    <a:pt x="12" y="1"/>
                    <a:pt x="15" y="0"/>
                  </a:cubicBezTo>
                  <a:cubicBezTo>
                    <a:pt x="18" y="0"/>
                    <a:pt x="21" y="0"/>
                    <a:pt x="24" y="0"/>
                  </a:cubicBezTo>
                  <a:cubicBezTo>
                    <a:pt x="28" y="0"/>
                    <a:pt x="32" y="0"/>
                    <a:pt x="35" y="0"/>
                  </a:cubicBezTo>
                  <a:cubicBezTo>
                    <a:pt x="39" y="0"/>
                    <a:pt x="42" y="1"/>
                    <a:pt x="45" y="1"/>
                  </a:cubicBezTo>
                  <a:cubicBezTo>
                    <a:pt x="47" y="2"/>
                    <a:pt x="48" y="2"/>
                    <a:pt x="48" y="4"/>
                  </a:cubicBezTo>
                  <a:cubicBezTo>
                    <a:pt x="48" y="8"/>
                    <a:pt x="48" y="8"/>
                    <a:pt x="48" y="8"/>
                  </a:cubicBezTo>
                  <a:cubicBezTo>
                    <a:pt x="48" y="10"/>
                    <a:pt x="47" y="10"/>
                    <a:pt x="45" y="10"/>
                  </a:cubicBezTo>
                  <a:cubicBezTo>
                    <a:pt x="45" y="10"/>
                    <a:pt x="45" y="10"/>
                    <a:pt x="45" y="10"/>
                  </a:cubicBezTo>
                  <a:cubicBezTo>
                    <a:pt x="43" y="10"/>
                    <a:pt x="40" y="10"/>
                    <a:pt x="36" y="10"/>
                  </a:cubicBezTo>
                  <a:cubicBezTo>
                    <a:pt x="32" y="9"/>
                    <a:pt x="28" y="9"/>
                    <a:pt x="24" y="9"/>
                  </a:cubicBezTo>
                  <a:cubicBezTo>
                    <a:pt x="21" y="9"/>
                    <a:pt x="18" y="10"/>
                    <a:pt x="15" y="11"/>
                  </a:cubicBezTo>
                  <a:cubicBezTo>
                    <a:pt x="13" y="11"/>
                    <a:pt x="12" y="13"/>
                    <a:pt x="12" y="17"/>
                  </a:cubicBezTo>
                  <a:cubicBezTo>
                    <a:pt x="12" y="19"/>
                    <a:pt x="13" y="20"/>
                    <a:pt x="14" y="22"/>
                  </a:cubicBezTo>
                  <a:cubicBezTo>
                    <a:pt x="16" y="23"/>
                    <a:pt x="18" y="25"/>
                    <a:pt x="21" y="26"/>
                  </a:cubicBezTo>
                  <a:cubicBezTo>
                    <a:pt x="34" y="34"/>
                    <a:pt x="34" y="34"/>
                    <a:pt x="34" y="34"/>
                  </a:cubicBezTo>
                  <a:cubicBezTo>
                    <a:pt x="40" y="37"/>
                    <a:pt x="44" y="40"/>
                    <a:pt x="46" y="43"/>
                  </a:cubicBezTo>
                  <a:cubicBezTo>
                    <a:pt x="48" y="46"/>
                    <a:pt x="49" y="49"/>
                    <a:pt x="49"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Rectangle 261">
              <a:extLst>
                <a:ext uri="{FF2B5EF4-FFF2-40B4-BE49-F238E27FC236}">
                  <a16:creationId xmlns:a16="http://schemas.microsoft.com/office/drawing/2014/main" id="{1F00AFD9-9E34-4010-AEC8-D55883CA0469}"/>
                </a:ext>
              </a:extLst>
            </p:cNvPr>
            <p:cNvSpPr>
              <a:spLocks noChangeArrowheads="1"/>
            </p:cNvSpPr>
            <p:nvPr/>
          </p:nvSpPr>
          <p:spPr bwMode="auto">
            <a:xfrm>
              <a:off x="7001918" y="2110746"/>
              <a:ext cx="177091" cy="35759"/>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Freeform 262">
              <a:extLst>
                <a:ext uri="{FF2B5EF4-FFF2-40B4-BE49-F238E27FC236}">
                  <a16:creationId xmlns:a16="http://schemas.microsoft.com/office/drawing/2014/main" id="{1CDABDB4-C3B1-4A63-B46E-7A04C1FBDAE9}"/>
                </a:ext>
              </a:extLst>
            </p:cNvPr>
            <p:cNvSpPr>
              <a:spLocks/>
            </p:cNvSpPr>
            <p:nvPr/>
          </p:nvSpPr>
          <p:spPr bwMode="auto">
            <a:xfrm>
              <a:off x="7012135" y="1833191"/>
              <a:ext cx="180497" cy="313315"/>
            </a:xfrm>
            <a:custGeom>
              <a:avLst/>
              <a:gdLst>
                <a:gd name="T0" fmla="*/ 7 w 56"/>
                <a:gd name="T1" fmla="*/ 5 h 96"/>
                <a:gd name="T2" fmla="*/ 30 w 56"/>
                <a:gd name="T3" fmla="*/ 0 h 96"/>
                <a:gd name="T4" fmla="*/ 41 w 56"/>
                <a:gd name="T5" fmla="*/ 0 h 96"/>
                <a:gd name="T6" fmla="*/ 52 w 56"/>
                <a:gd name="T7" fmla="*/ 2 h 96"/>
                <a:gd name="T8" fmla="*/ 54 w 56"/>
                <a:gd name="T9" fmla="*/ 3 h 96"/>
                <a:gd name="T10" fmla="*/ 54 w 56"/>
                <a:gd name="T11" fmla="*/ 5 h 96"/>
                <a:gd name="T12" fmla="*/ 54 w 56"/>
                <a:gd name="T13" fmla="*/ 9 h 96"/>
                <a:gd name="T14" fmla="*/ 52 w 56"/>
                <a:gd name="T15" fmla="*/ 12 h 96"/>
                <a:gd name="T16" fmla="*/ 52 w 56"/>
                <a:gd name="T17" fmla="*/ 12 h 96"/>
                <a:gd name="T18" fmla="*/ 41 w 56"/>
                <a:gd name="T19" fmla="*/ 10 h 96"/>
                <a:gd name="T20" fmla="*/ 30 w 56"/>
                <a:gd name="T21" fmla="*/ 10 h 96"/>
                <a:gd name="T22" fmla="*/ 15 w 56"/>
                <a:gd name="T23" fmla="*/ 13 h 96"/>
                <a:gd name="T24" fmla="*/ 11 w 56"/>
                <a:gd name="T25" fmla="*/ 23 h 96"/>
                <a:gd name="T26" fmla="*/ 11 w 56"/>
                <a:gd name="T27" fmla="*/ 28 h 96"/>
                <a:gd name="T28" fmla="*/ 13 w 56"/>
                <a:gd name="T29" fmla="*/ 32 h 96"/>
                <a:gd name="T30" fmla="*/ 17 w 56"/>
                <a:gd name="T31" fmla="*/ 36 h 96"/>
                <a:gd name="T32" fmla="*/ 24 w 56"/>
                <a:gd name="T33" fmla="*/ 41 h 96"/>
                <a:gd name="T34" fmla="*/ 36 w 56"/>
                <a:gd name="T35" fmla="*/ 49 h 96"/>
                <a:gd name="T36" fmla="*/ 51 w 56"/>
                <a:gd name="T37" fmla="*/ 65 h 96"/>
                <a:gd name="T38" fmla="*/ 56 w 56"/>
                <a:gd name="T39" fmla="*/ 83 h 96"/>
                <a:gd name="T40" fmla="*/ 56 w 56"/>
                <a:gd name="T41" fmla="*/ 93 h 96"/>
                <a:gd name="T42" fmla="*/ 55 w 56"/>
                <a:gd name="T43" fmla="*/ 95 h 96"/>
                <a:gd name="T44" fmla="*/ 53 w 56"/>
                <a:gd name="T45" fmla="*/ 96 h 96"/>
                <a:gd name="T46" fmla="*/ 3 w 56"/>
                <a:gd name="T47" fmla="*/ 96 h 96"/>
                <a:gd name="T48" fmla="*/ 2 w 56"/>
                <a:gd name="T49" fmla="*/ 95 h 96"/>
                <a:gd name="T50" fmla="*/ 1 w 56"/>
                <a:gd name="T51" fmla="*/ 93 h 96"/>
                <a:gd name="T52" fmla="*/ 1 w 56"/>
                <a:gd name="T53" fmla="*/ 88 h 96"/>
                <a:gd name="T54" fmla="*/ 2 w 56"/>
                <a:gd name="T55" fmla="*/ 86 h 96"/>
                <a:gd name="T56" fmla="*/ 3 w 56"/>
                <a:gd name="T57" fmla="*/ 85 h 96"/>
                <a:gd name="T58" fmla="*/ 46 w 56"/>
                <a:gd name="T59" fmla="*/ 85 h 96"/>
                <a:gd name="T60" fmla="*/ 46 w 56"/>
                <a:gd name="T61" fmla="*/ 83 h 96"/>
                <a:gd name="T62" fmla="*/ 45 w 56"/>
                <a:gd name="T63" fmla="*/ 75 h 96"/>
                <a:gd name="T64" fmla="*/ 42 w 56"/>
                <a:gd name="T65" fmla="*/ 69 h 96"/>
                <a:gd name="T66" fmla="*/ 37 w 56"/>
                <a:gd name="T67" fmla="*/ 62 h 96"/>
                <a:gd name="T68" fmla="*/ 28 w 56"/>
                <a:gd name="T69" fmla="*/ 56 h 96"/>
                <a:gd name="T70" fmla="*/ 16 w 56"/>
                <a:gd name="T71" fmla="*/ 47 h 96"/>
                <a:gd name="T72" fmla="*/ 3 w 56"/>
                <a:gd name="T73" fmla="*/ 36 h 96"/>
                <a:gd name="T74" fmla="*/ 0 w 56"/>
                <a:gd name="T75" fmla="*/ 23 h 96"/>
                <a:gd name="T76" fmla="*/ 7 w 56"/>
                <a:gd name="T77" fmla="*/ 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 h="96">
                  <a:moveTo>
                    <a:pt x="7" y="5"/>
                  </a:moveTo>
                  <a:cubicBezTo>
                    <a:pt x="12" y="2"/>
                    <a:pt x="19" y="0"/>
                    <a:pt x="30" y="0"/>
                  </a:cubicBezTo>
                  <a:cubicBezTo>
                    <a:pt x="33" y="0"/>
                    <a:pt x="37" y="0"/>
                    <a:pt x="41" y="0"/>
                  </a:cubicBezTo>
                  <a:cubicBezTo>
                    <a:pt x="45" y="1"/>
                    <a:pt x="49" y="1"/>
                    <a:pt x="52" y="2"/>
                  </a:cubicBezTo>
                  <a:cubicBezTo>
                    <a:pt x="53" y="3"/>
                    <a:pt x="53" y="3"/>
                    <a:pt x="54" y="3"/>
                  </a:cubicBezTo>
                  <a:cubicBezTo>
                    <a:pt x="54" y="3"/>
                    <a:pt x="54" y="4"/>
                    <a:pt x="54" y="5"/>
                  </a:cubicBezTo>
                  <a:cubicBezTo>
                    <a:pt x="54" y="9"/>
                    <a:pt x="54" y="9"/>
                    <a:pt x="54" y="9"/>
                  </a:cubicBezTo>
                  <a:cubicBezTo>
                    <a:pt x="54" y="11"/>
                    <a:pt x="54" y="12"/>
                    <a:pt x="52" y="12"/>
                  </a:cubicBezTo>
                  <a:cubicBezTo>
                    <a:pt x="52" y="12"/>
                    <a:pt x="52" y="12"/>
                    <a:pt x="52" y="12"/>
                  </a:cubicBezTo>
                  <a:cubicBezTo>
                    <a:pt x="48" y="11"/>
                    <a:pt x="45" y="11"/>
                    <a:pt x="41" y="10"/>
                  </a:cubicBezTo>
                  <a:cubicBezTo>
                    <a:pt x="37" y="10"/>
                    <a:pt x="33" y="10"/>
                    <a:pt x="30" y="10"/>
                  </a:cubicBezTo>
                  <a:cubicBezTo>
                    <a:pt x="23" y="10"/>
                    <a:pt x="18" y="11"/>
                    <a:pt x="15" y="13"/>
                  </a:cubicBezTo>
                  <a:cubicBezTo>
                    <a:pt x="12" y="15"/>
                    <a:pt x="11" y="18"/>
                    <a:pt x="11" y="23"/>
                  </a:cubicBezTo>
                  <a:cubicBezTo>
                    <a:pt x="11" y="25"/>
                    <a:pt x="11" y="26"/>
                    <a:pt x="11" y="28"/>
                  </a:cubicBezTo>
                  <a:cubicBezTo>
                    <a:pt x="12" y="29"/>
                    <a:pt x="12" y="31"/>
                    <a:pt x="13" y="32"/>
                  </a:cubicBezTo>
                  <a:cubicBezTo>
                    <a:pt x="14" y="33"/>
                    <a:pt x="16" y="35"/>
                    <a:pt x="17" y="36"/>
                  </a:cubicBezTo>
                  <a:cubicBezTo>
                    <a:pt x="19" y="37"/>
                    <a:pt x="21" y="39"/>
                    <a:pt x="24" y="41"/>
                  </a:cubicBezTo>
                  <a:cubicBezTo>
                    <a:pt x="36" y="49"/>
                    <a:pt x="36" y="49"/>
                    <a:pt x="36" y="49"/>
                  </a:cubicBezTo>
                  <a:cubicBezTo>
                    <a:pt x="43" y="54"/>
                    <a:pt x="48" y="59"/>
                    <a:pt x="51" y="65"/>
                  </a:cubicBezTo>
                  <a:cubicBezTo>
                    <a:pt x="54" y="70"/>
                    <a:pt x="56" y="76"/>
                    <a:pt x="56" y="83"/>
                  </a:cubicBezTo>
                  <a:cubicBezTo>
                    <a:pt x="56" y="93"/>
                    <a:pt x="56" y="93"/>
                    <a:pt x="56" y="93"/>
                  </a:cubicBezTo>
                  <a:cubicBezTo>
                    <a:pt x="56" y="94"/>
                    <a:pt x="56" y="94"/>
                    <a:pt x="55" y="95"/>
                  </a:cubicBezTo>
                  <a:cubicBezTo>
                    <a:pt x="55" y="95"/>
                    <a:pt x="54" y="96"/>
                    <a:pt x="53" y="96"/>
                  </a:cubicBezTo>
                  <a:cubicBezTo>
                    <a:pt x="3" y="96"/>
                    <a:pt x="3" y="96"/>
                    <a:pt x="3" y="96"/>
                  </a:cubicBezTo>
                  <a:cubicBezTo>
                    <a:pt x="3" y="96"/>
                    <a:pt x="2" y="95"/>
                    <a:pt x="2" y="95"/>
                  </a:cubicBezTo>
                  <a:cubicBezTo>
                    <a:pt x="1" y="94"/>
                    <a:pt x="1" y="94"/>
                    <a:pt x="1" y="93"/>
                  </a:cubicBezTo>
                  <a:cubicBezTo>
                    <a:pt x="1" y="88"/>
                    <a:pt x="1" y="88"/>
                    <a:pt x="1" y="88"/>
                  </a:cubicBezTo>
                  <a:cubicBezTo>
                    <a:pt x="1" y="87"/>
                    <a:pt x="1" y="86"/>
                    <a:pt x="2" y="86"/>
                  </a:cubicBezTo>
                  <a:cubicBezTo>
                    <a:pt x="2" y="86"/>
                    <a:pt x="3" y="85"/>
                    <a:pt x="3" y="85"/>
                  </a:cubicBezTo>
                  <a:cubicBezTo>
                    <a:pt x="46" y="85"/>
                    <a:pt x="46" y="85"/>
                    <a:pt x="46" y="85"/>
                  </a:cubicBezTo>
                  <a:cubicBezTo>
                    <a:pt x="46" y="83"/>
                    <a:pt x="46" y="83"/>
                    <a:pt x="46" y="83"/>
                  </a:cubicBezTo>
                  <a:cubicBezTo>
                    <a:pt x="46" y="80"/>
                    <a:pt x="46" y="77"/>
                    <a:pt x="45" y="75"/>
                  </a:cubicBezTo>
                  <a:cubicBezTo>
                    <a:pt x="44" y="73"/>
                    <a:pt x="44" y="71"/>
                    <a:pt x="42" y="69"/>
                  </a:cubicBezTo>
                  <a:cubicBezTo>
                    <a:pt x="41" y="66"/>
                    <a:pt x="39" y="64"/>
                    <a:pt x="37" y="62"/>
                  </a:cubicBezTo>
                  <a:cubicBezTo>
                    <a:pt x="35" y="60"/>
                    <a:pt x="32" y="58"/>
                    <a:pt x="28" y="56"/>
                  </a:cubicBezTo>
                  <a:cubicBezTo>
                    <a:pt x="16" y="47"/>
                    <a:pt x="16" y="47"/>
                    <a:pt x="16" y="47"/>
                  </a:cubicBezTo>
                  <a:cubicBezTo>
                    <a:pt x="10" y="43"/>
                    <a:pt x="6" y="39"/>
                    <a:pt x="3" y="36"/>
                  </a:cubicBezTo>
                  <a:cubicBezTo>
                    <a:pt x="1" y="32"/>
                    <a:pt x="0" y="28"/>
                    <a:pt x="0" y="23"/>
                  </a:cubicBezTo>
                  <a:cubicBezTo>
                    <a:pt x="0" y="15"/>
                    <a:pt x="2" y="9"/>
                    <a:pt x="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5" name="Rectangle 34">
            <a:extLst>
              <a:ext uri="{FF2B5EF4-FFF2-40B4-BE49-F238E27FC236}">
                <a16:creationId xmlns:a16="http://schemas.microsoft.com/office/drawing/2014/main" id="{3B62D48D-742F-4585-97E7-27E04C1E73AB}"/>
              </a:ext>
            </a:extLst>
          </p:cNvPr>
          <p:cNvSpPr/>
          <p:nvPr/>
        </p:nvSpPr>
        <p:spPr>
          <a:xfrm>
            <a:off x="10239552" y="0"/>
            <a:ext cx="1952448" cy="673772"/>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9887" h="1207779">
                <a:moveTo>
                  <a:pt x="20077" y="0"/>
                </a:moveTo>
                <a:lnTo>
                  <a:pt x="3499887" y="4553"/>
                </a:lnTo>
                <a:lnTo>
                  <a:pt x="3499887" y="1130405"/>
                </a:lnTo>
                <a:cubicBezTo>
                  <a:pt x="3499588" y="1433772"/>
                  <a:pt x="3468504" y="745115"/>
                  <a:pt x="2205570" y="775263"/>
                </a:cubicBezTo>
                <a:cubicBezTo>
                  <a:pt x="942636" y="805411"/>
                  <a:pt x="-163771" y="183848"/>
                  <a:pt x="20077"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315CBA77-EC7F-4B18-98D5-C1EA7972AC80}"/>
              </a:ext>
            </a:extLst>
          </p:cNvPr>
          <p:cNvSpPr/>
          <p:nvPr/>
        </p:nvSpPr>
        <p:spPr>
          <a:xfrm>
            <a:off x="4533900" y="3947886"/>
            <a:ext cx="7658099" cy="2184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a:extLst>
              <a:ext uri="{FF2B5EF4-FFF2-40B4-BE49-F238E27FC236}">
                <a16:creationId xmlns:a16="http://schemas.microsoft.com/office/drawing/2014/main" id="{6A810F44-2B55-464B-BB8C-B14B9A679EA9}"/>
              </a:ext>
            </a:extLst>
          </p:cNvPr>
          <p:cNvCxnSpPr>
            <a:cxnSpLocks/>
          </p:cNvCxnSpPr>
          <p:nvPr/>
        </p:nvCxnSpPr>
        <p:spPr>
          <a:xfrm>
            <a:off x="4978742" y="4282848"/>
            <a:ext cx="831508" cy="0"/>
          </a:xfrm>
          <a:prstGeom prst="line">
            <a:avLst/>
          </a:prstGeom>
          <a:ln w="127000">
            <a:gradFill flip="none" rotWithShape="1">
              <a:gsLst>
                <a:gs pos="0">
                  <a:schemeClr val="accent2">
                    <a:lumMod val="75000"/>
                  </a:schemeClr>
                </a:gs>
                <a:gs pos="100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E940B0CD-CDC3-4D1A-BED9-138021592740}"/>
              </a:ext>
            </a:extLst>
          </p:cNvPr>
          <p:cNvSpPr txBox="1"/>
          <p:nvPr/>
        </p:nvSpPr>
        <p:spPr>
          <a:xfrm>
            <a:off x="4978742" y="4554763"/>
            <a:ext cx="5507836" cy="681405"/>
          </a:xfrm>
          <a:prstGeom prst="rect">
            <a:avLst/>
          </a:prstGeom>
          <a:noFill/>
        </p:spPr>
        <p:txBody>
          <a:bodyPr wrap="square" lIns="0" tIns="0" rIns="0" bIns="0" rtlCol="0">
            <a:spAutoFit/>
          </a:bodyPr>
          <a:lstStyle/>
          <a:p>
            <a:pPr>
              <a:lnSpc>
                <a:spcPct val="80000"/>
              </a:lnSpc>
            </a:pPr>
            <a:r>
              <a:rPr lang="en-US" sz="5400" b="1" dirty="0"/>
              <a:t>Mini Project 2</a:t>
            </a:r>
          </a:p>
        </p:txBody>
      </p:sp>
      <p:sp>
        <p:nvSpPr>
          <p:cNvPr id="28" name="TextBox 27">
            <a:extLst>
              <a:ext uri="{FF2B5EF4-FFF2-40B4-BE49-F238E27FC236}">
                <a16:creationId xmlns:a16="http://schemas.microsoft.com/office/drawing/2014/main" id="{CB7E72AE-21F9-48A1-9B62-3C22913145E4}"/>
              </a:ext>
            </a:extLst>
          </p:cNvPr>
          <p:cNvSpPr txBox="1"/>
          <p:nvPr/>
        </p:nvSpPr>
        <p:spPr>
          <a:xfrm>
            <a:off x="4978742" y="5272125"/>
            <a:ext cx="4905494" cy="246221"/>
          </a:xfrm>
          <a:prstGeom prst="rect">
            <a:avLst/>
          </a:prstGeom>
          <a:noFill/>
        </p:spPr>
        <p:txBody>
          <a:bodyPr wrap="square" lIns="0" tIns="0" rIns="0" bIns="0" rtlCol="0">
            <a:spAutoFit/>
          </a:bodyPr>
          <a:lstStyle/>
          <a:p>
            <a:r>
              <a:rPr lang="en-US" sz="1600" dirty="0"/>
              <a:t>Shrey Parekh</a:t>
            </a:r>
          </a:p>
        </p:txBody>
      </p:sp>
      <p:sp>
        <p:nvSpPr>
          <p:cNvPr id="42" name="Slide Number Placeholder 41">
            <a:extLst>
              <a:ext uri="{FF2B5EF4-FFF2-40B4-BE49-F238E27FC236}">
                <a16:creationId xmlns:a16="http://schemas.microsoft.com/office/drawing/2014/main" id="{7681E91A-08DB-47B4-A0B7-DCF410E8C00E}"/>
              </a:ext>
            </a:extLst>
          </p:cNvPr>
          <p:cNvSpPr>
            <a:spLocks noGrp="1"/>
          </p:cNvSpPr>
          <p:nvPr>
            <p:ph type="sldNum" sz="quarter" idx="4"/>
          </p:nvPr>
        </p:nvSpPr>
        <p:spPr/>
        <p:txBody>
          <a:bodyPr/>
          <a:lstStyle/>
          <a:p>
            <a:fld id="{B84D2E29-67F4-44D8-B0E3-F54815B4F123}" type="slidenum">
              <a:rPr lang="en-US" smtClean="0"/>
              <a:pPr/>
              <a:t>1</a:t>
            </a:fld>
            <a:endParaRPr lang="en-US" dirty="0"/>
          </a:p>
        </p:txBody>
      </p:sp>
    </p:spTree>
    <p:extLst>
      <p:ext uri="{BB962C8B-B14F-4D97-AF65-F5344CB8AC3E}">
        <p14:creationId xmlns:p14="http://schemas.microsoft.com/office/powerpoint/2010/main" val="22354613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Freeform: Shape 59">
            <a:extLst>
              <a:ext uri="{FF2B5EF4-FFF2-40B4-BE49-F238E27FC236}">
                <a16:creationId xmlns:a16="http://schemas.microsoft.com/office/drawing/2014/main" id="{2F4964F9-79AB-4BE1-9862-76CE4510D553}"/>
              </a:ext>
            </a:extLst>
          </p:cNvPr>
          <p:cNvSpPr/>
          <p:nvPr/>
        </p:nvSpPr>
        <p:spPr>
          <a:xfrm>
            <a:off x="-3175" y="4988118"/>
            <a:ext cx="10988503" cy="1869882"/>
          </a:xfrm>
          <a:custGeom>
            <a:avLst/>
            <a:gdLst>
              <a:gd name="connsiteX0" fmla="*/ 1310303 w 10988503"/>
              <a:gd name="connsiteY0" fmla="*/ 22 h 1869882"/>
              <a:gd name="connsiteX1" fmla="*/ 6483550 w 10988503"/>
              <a:gd name="connsiteY1" fmla="*/ 1580690 h 1869882"/>
              <a:gd name="connsiteX2" fmla="*/ 10974880 w 10988503"/>
              <a:gd name="connsiteY2" fmla="*/ 1866382 h 1869882"/>
              <a:gd name="connsiteX3" fmla="*/ 10988503 w 10988503"/>
              <a:gd name="connsiteY3" fmla="*/ 1869882 h 1869882"/>
              <a:gd name="connsiteX4" fmla="*/ 0 w 10988503"/>
              <a:gd name="connsiteY4" fmla="*/ 1869882 h 1869882"/>
              <a:gd name="connsiteX5" fmla="*/ 0 w 10988503"/>
              <a:gd name="connsiteY5" fmla="*/ 1794198 h 1869882"/>
              <a:gd name="connsiteX6" fmla="*/ 0 w 10988503"/>
              <a:gd name="connsiteY6" fmla="*/ 334669 h 1869882"/>
              <a:gd name="connsiteX7" fmla="*/ 1310303 w 10988503"/>
              <a:gd name="connsiteY7" fmla="*/ 22 h 186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88503" h="1869882">
                <a:moveTo>
                  <a:pt x="1310303" y="22"/>
                </a:moveTo>
                <a:cubicBezTo>
                  <a:pt x="3087798" y="-7336"/>
                  <a:pt x="4449871" y="1761474"/>
                  <a:pt x="6483550" y="1580690"/>
                </a:cubicBezTo>
                <a:cubicBezTo>
                  <a:pt x="8348226" y="1415442"/>
                  <a:pt x="9844847" y="1591559"/>
                  <a:pt x="10974880" y="1866382"/>
                </a:cubicBezTo>
                <a:lnTo>
                  <a:pt x="10988503" y="1869882"/>
                </a:lnTo>
                <a:lnTo>
                  <a:pt x="0" y="1869882"/>
                </a:lnTo>
                <a:lnTo>
                  <a:pt x="0" y="1794198"/>
                </a:lnTo>
                <a:cubicBezTo>
                  <a:pt x="0" y="1432462"/>
                  <a:pt x="0" y="957720"/>
                  <a:pt x="0" y="334669"/>
                </a:cubicBezTo>
                <a:cubicBezTo>
                  <a:pt x="467797" y="98006"/>
                  <a:pt x="900111" y="1719"/>
                  <a:pt x="1310303" y="22"/>
                </a:cubicBezTo>
                <a:close/>
              </a:path>
            </a:pathLst>
          </a:custGeom>
          <a:gradFill>
            <a:gsLst>
              <a:gs pos="0">
                <a:srgbClr val="393762"/>
              </a:gs>
              <a:gs pos="50000">
                <a:srgbClr val="C779D0"/>
              </a:gs>
              <a:gs pos="100000">
                <a:srgbClr val="E4859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a:extLst>
              <a:ext uri="{FF2B5EF4-FFF2-40B4-BE49-F238E27FC236}">
                <a16:creationId xmlns:a16="http://schemas.microsoft.com/office/drawing/2014/main" id="{5C67D406-5165-4360-8C1C-324029DCCE25}"/>
              </a:ext>
            </a:extLst>
          </p:cNvPr>
          <p:cNvSpPr txBox="1"/>
          <p:nvPr/>
        </p:nvSpPr>
        <p:spPr>
          <a:xfrm>
            <a:off x="266700" y="337269"/>
            <a:ext cx="11658600" cy="553998"/>
          </a:xfrm>
          <a:prstGeom prst="rect">
            <a:avLst/>
          </a:prstGeom>
          <a:noFill/>
        </p:spPr>
        <p:txBody>
          <a:bodyPr wrap="square" lIns="0" tIns="0" rIns="0" bIns="0" rtlCol="0" anchor="t">
            <a:spAutoFit/>
          </a:bodyPr>
          <a:lstStyle/>
          <a:p>
            <a:pPr algn="ctr"/>
            <a:r>
              <a:rPr lang="en-US" sz="3600" b="1" dirty="0">
                <a:solidFill>
                  <a:schemeClr val="tx1">
                    <a:lumMod val="75000"/>
                    <a:lumOff val="25000"/>
                  </a:schemeClr>
                </a:solidFill>
                <a:latin typeface="+mj-lt"/>
                <a:ea typeface="Segoe UI Black" panose="020B0A02040204020203" pitchFamily="34" charset="0"/>
                <a:cs typeface="Segoe UI" panose="020B0502040204020203" pitchFamily="34" charset="0"/>
              </a:rPr>
              <a:t>Data Exploration and Statistical Analysis</a:t>
            </a:r>
          </a:p>
        </p:txBody>
      </p:sp>
      <p:sp>
        <p:nvSpPr>
          <p:cNvPr id="51" name="Date Placeholder 50">
            <a:extLst>
              <a:ext uri="{FF2B5EF4-FFF2-40B4-BE49-F238E27FC236}">
                <a16:creationId xmlns:a16="http://schemas.microsoft.com/office/drawing/2014/main" id="{7503AC9C-2A15-4763-9BD1-8EE7F5EB1B56}"/>
              </a:ext>
            </a:extLst>
          </p:cNvPr>
          <p:cNvSpPr>
            <a:spLocks noGrp="1"/>
          </p:cNvSpPr>
          <p:nvPr>
            <p:ph type="dt" sz="half" idx="10"/>
          </p:nvPr>
        </p:nvSpPr>
        <p:spPr/>
        <p:txBody>
          <a:bodyPr/>
          <a:lstStyle/>
          <a:p>
            <a:fld id="{581601AE-D121-467F-9CAE-E6980EB143C1}" type="datetime1">
              <a:rPr lang="en-US" smtClean="0">
                <a:solidFill>
                  <a:schemeClr val="tx1"/>
                </a:solidFill>
              </a:rPr>
              <a:t>3/25/2021</a:t>
            </a:fld>
            <a:endParaRPr lang="en-US">
              <a:solidFill>
                <a:schemeClr val="tx1"/>
              </a:solidFill>
            </a:endParaRPr>
          </a:p>
        </p:txBody>
      </p:sp>
      <p:sp>
        <p:nvSpPr>
          <p:cNvPr id="52" name="Slide Number Placeholder 51">
            <a:extLst>
              <a:ext uri="{FF2B5EF4-FFF2-40B4-BE49-F238E27FC236}">
                <a16:creationId xmlns:a16="http://schemas.microsoft.com/office/drawing/2014/main" id="{0E138C45-4489-4E6D-BF08-27D313165EAD}"/>
              </a:ext>
            </a:extLst>
          </p:cNvPr>
          <p:cNvSpPr>
            <a:spLocks noGrp="1"/>
          </p:cNvSpPr>
          <p:nvPr>
            <p:ph type="sldNum" sz="quarter" idx="12"/>
          </p:nvPr>
        </p:nvSpPr>
        <p:spPr/>
        <p:txBody>
          <a:bodyPr/>
          <a:lstStyle/>
          <a:p>
            <a:fld id="{2B5E5E57-0193-45F1-AA6D-ABE38BBADBB1}" type="slidenum">
              <a:rPr lang="en-US" smtClean="0">
                <a:solidFill>
                  <a:schemeClr val="tx1"/>
                </a:solidFill>
              </a:rPr>
              <a:t>10</a:t>
            </a:fld>
            <a:endParaRPr lang="en-US">
              <a:solidFill>
                <a:schemeClr val="tx1"/>
              </a:solidFill>
            </a:endParaRPr>
          </a:p>
        </p:txBody>
      </p:sp>
      <p:sp>
        <p:nvSpPr>
          <p:cNvPr id="68" name="Freeform 122">
            <a:extLst>
              <a:ext uri="{FF2B5EF4-FFF2-40B4-BE49-F238E27FC236}">
                <a16:creationId xmlns:a16="http://schemas.microsoft.com/office/drawing/2014/main" id="{5A8B61EE-E905-4A04-86AB-E8905B71042E}"/>
              </a:ext>
            </a:extLst>
          </p:cNvPr>
          <p:cNvSpPr>
            <a:spLocks noEditPoints="1"/>
          </p:cNvSpPr>
          <p:nvPr/>
        </p:nvSpPr>
        <p:spPr bwMode="auto">
          <a:xfrm>
            <a:off x="677937" y="1738119"/>
            <a:ext cx="287338" cy="263525"/>
          </a:xfrm>
          <a:custGeom>
            <a:avLst/>
            <a:gdLst>
              <a:gd name="T0" fmla="*/ 376 w 907"/>
              <a:gd name="T1" fmla="*/ 508 h 827"/>
              <a:gd name="T2" fmla="*/ 866 w 907"/>
              <a:gd name="T3" fmla="*/ 58 h 827"/>
              <a:gd name="T4" fmla="*/ 366 w 907"/>
              <a:gd name="T5" fmla="*/ 758 h 827"/>
              <a:gd name="T6" fmla="*/ 466 w 907"/>
              <a:gd name="T7" fmla="*/ 590 h 827"/>
              <a:gd name="T8" fmla="*/ 819 w 907"/>
              <a:gd name="T9" fmla="*/ 61 h 827"/>
              <a:gd name="T10" fmla="*/ 55 w 907"/>
              <a:gd name="T11" fmla="*/ 375 h 827"/>
              <a:gd name="T12" fmla="*/ 907 w 907"/>
              <a:gd name="T13" fmla="*/ 15 h 827"/>
              <a:gd name="T14" fmla="*/ 906 w 907"/>
              <a:gd name="T15" fmla="*/ 12 h 827"/>
              <a:gd name="T16" fmla="*/ 906 w 907"/>
              <a:gd name="T17" fmla="*/ 11 h 827"/>
              <a:gd name="T18" fmla="*/ 905 w 907"/>
              <a:gd name="T19" fmla="*/ 8 h 827"/>
              <a:gd name="T20" fmla="*/ 905 w 907"/>
              <a:gd name="T21" fmla="*/ 6 h 827"/>
              <a:gd name="T22" fmla="*/ 904 w 907"/>
              <a:gd name="T23" fmla="*/ 5 h 827"/>
              <a:gd name="T24" fmla="*/ 902 w 907"/>
              <a:gd name="T25" fmla="*/ 3 h 827"/>
              <a:gd name="T26" fmla="*/ 900 w 907"/>
              <a:gd name="T27" fmla="*/ 2 h 827"/>
              <a:gd name="T28" fmla="*/ 900 w 907"/>
              <a:gd name="T29" fmla="*/ 2 h 827"/>
              <a:gd name="T30" fmla="*/ 897 w 907"/>
              <a:gd name="T31" fmla="*/ 1 h 827"/>
              <a:gd name="T32" fmla="*/ 895 w 907"/>
              <a:gd name="T33" fmla="*/ 0 h 827"/>
              <a:gd name="T34" fmla="*/ 893 w 907"/>
              <a:gd name="T35" fmla="*/ 0 h 827"/>
              <a:gd name="T36" fmla="*/ 891 w 907"/>
              <a:gd name="T37" fmla="*/ 0 h 827"/>
              <a:gd name="T38" fmla="*/ 887 w 907"/>
              <a:gd name="T39" fmla="*/ 1 h 827"/>
              <a:gd name="T40" fmla="*/ 886 w 907"/>
              <a:gd name="T41" fmla="*/ 1 h 827"/>
              <a:gd name="T42" fmla="*/ 886 w 907"/>
              <a:gd name="T43" fmla="*/ 1 h 827"/>
              <a:gd name="T44" fmla="*/ 5 w 907"/>
              <a:gd name="T45" fmla="*/ 365 h 827"/>
              <a:gd name="T46" fmla="*/ 1 w 907"/>
              <a:gd name="T47" fmla="*/ 372 h 827"/>
              <a:gd name="T48" fmla="*/ 1 w 907"/>
              <a:gd name="T49" fmla="*/ 381 h 827"/>
              <a:gd name="T50" fmla="*/ 5 w 907"/>
              <a:gd name="T51" fmla="*/ 388 h 827"/>
              <a:gd name="T52" fmla="*/ 336 w 907"/>
              <a:gd name="T53" fmla="*/ 521 h 827"/>
              <a:gd name="T54" fmla="*/ 336 w 907"/>
              <a:gd name="T55" fmla="*/ 817 h 827"/>
              <a:gd name="T56" fmla="*/ 342 w 907"/>
              <a:gd name="T57" fmla="*/ 825 h 827"/>
              <a:gd name="T58" fmla="*/ 348 w 907"/>
              <a:gd name="T59" fmla="*/ 827 h 827"/>
              <a:gd name="T60" fmla="*/ 354 w 907"/>
              <a:gd name="T61" fmla="*/ 827 h 827"/>
              <a:gd name="T62" fmla="*/ 360 w 907"/>
              <a:gd name="T63" fmla="*/ 823 h 827"/>
              <a:gd name="T64" fmla="*/ 492 w 907"/>
              <a:gd name="T65" fmla="*/ 605 h 827"/>
              <a:gd name="T66" fmla="*/ 732 w 907"/>
              <a:gd name="T67" fmla="*/ 732 h 827"/>
              <a:gd name="T68" fmla="*/ 739 w 907"/>
              <a:gd name="T69" fmla="*/ 732 h 827"/>
              <a:gd name="T70" fmla="*/ 745 w 907"/>
              <a:gd name="T71" fmla="*/ 729 h 827"/>
              <a:gd name="T72" fmla="*/ 749 w 907"/>
              <a:gd name="T73" fmla="*/ 724 h 827"/>
              <a:gd name="T74" fmla="*/ 906 w 907"/>
              <a:gd name="T75" fmla="*/ 18 h 827"/>
              <a:gd name="T76" fmla="*/ 906 w 907"/>
              <a:gd name="T77" fmla="*/ 17 h 827"/>
              <a:gd name="T78" fmla="*/ 907 w 907"/>
              <a:gd name="T79" fmla="*/ 15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07" h="827">
                <a:moveTo>
                  <a:pt x="726" y="695"/>
                </a:moveTo>
                <a:lnTo>
                  <a:pt x="376" y="508"/>
                </a:lnTo>
                <a:lnTo>
                  <a:pt x="834" y="88"/>
                </a:lnTo>
                <a:lnTo>
                  <a:pt x="866" y="58"/>
                </a:lnTo>
                <a:lnTo>
                  <a:pt x="726" y="695"/>
                </a:lnTo>
                <a:close/>
                <a:moveTo>
                  <a:pt x="366" y="758"/>
                </a:moveTo>
                <a:lnTo>
                  <a:pt x="366" y="536"/>
                </a:lnTo>
                <a:lnTo>
                  <a:pt x="466" y="590"/>
                </a:lnTo>
                <a:lnTo>
                  <a:pt x="366" y="758"/>
                </a:lnTo>
                <a:close/>
                <a:moveTo>
                  <a:pt x="819" y="61"/>
                </a:moveTo>
                <a:lnTo>
                  <a:pt x="347" y="493"/>
                </a:lnTo>
                <a:lnTo>
                  <a:pt x="55" y="375"/>
                </a:lnTo>
                <a:lnTo>
                  <a:pt x="819" y="61"/>
                </a:lnTo>
                <a:close/>
                <a:moveTo>
                  <a:pt x="907" y="15"/>
                </a:moveTo>
                <a:lnTo>
                  <a:pt x="907" y="14"/>
                </a:lnTo>
                <a:lnTo>
                  <a:pt x="906" y="12"/>
                </a:lnTo>
                <a:lnTo>
                  <a:pt x="906" y="12"/>
                </a:lnTo>
                <a:lnTo>
                  <a:pt x="906" y="11"/>
                </a:lnTo>
                <a:lnTo>
                  <a:pt x="905" y="9"/>
                </a:lnTo>
                <a:lnTo>
                  <a:pt x="905" y="8"/>
                </a:lnTo>
                <a:lnTo>
                  <a:pt x="905" y="8"/>
                </a:lnTo>
                <a:lnTo>
                  <a:pt x="905" y="6"/>
                </a:lnTo>
                <a:lnTo>
                  <a:pt x="904" y="6"/>
                </a:lnTo>
                <a:lnTo>
                  <a:pt x="904" y="5"/>
                </a:lnTo>
                <a:lnTo>
                  <a:pt x="903" y="4"/>
                </a:lnTo>
                <a:lnTo>
                  <a:pt x="902" y="3"/>
                </a:lnTo>
                <a:lnTo>
                  <a:pt x="901" y="3"/>
                </a:lnTo>
                <a:lnTo>
                  <a:pt x="900" y="2"/>
                </a:lnTo>
                <a:lnTo>
                  <a:pt x="900" y="2"/>
                </a:lnTo>
                <a:lnTo>
                  <a:pt x="900" y="2"/>
                </a:lnTo>
                <a:lnTo>
                  <a:pt x="898" y="1"/>
                </a:lnTo>
                <a:lnTo>
                  <a:pt x="897" y="1"/>
                </a:lnTo>
                <a:lnTo>
                  <a:pt x="896" y="1"/>
                </a:lnTo>
                <a:lnTo>
                  <a:pt x="895" y="0"/>
                </a:lnTo>
                <a:lnTo>
                  <a:pt x="894" y="0"/>
                </a:lnTo>
                <a:lnTo>
                  <a:pt x="893" y="0"/>
                </a:lnTo>
                <a:lnTo>
                  <a:pt x="892" y="0"/>
                </a:lnTo>
                <a:lnTo>
                  <a:pt x="891" y="0"/>
                </a:lnTo>
                <a:lnTo>
                  <a:pt x="889" y="0"/>
                </a:lnTo>
                <a:lnTo>
                  <a:pt x="887" y="1"/>
                </a:lnTo>
                <a:lnTo>
                  <a:pt x="887" y="1"/>
                </a:lnTo>
                <a:lnTo>
                  <a:pt x="886" y="1"/>
                </a:lnTo>
                <a:lnTo>
                  <a:pt x="886" y="1"/>
                </a:lnTo>
                <a:lnTo>
                  <a:pt x="886" y="1"/>
                </a:lnTo>
                <a:lnTo>
                  <a:pt x="10" y="362"/>
                </a:lnTo>
                <a:lnTo>
                  <a:pt x="5" y="365"/>
                </a:lnTo>
                <a:lnTo>
                  <a:pt x="2" y="368"/>
                </a:lnTo>
                <a:lnTo>
                  <a:pt x="1" y="372"/>
                </a:lnTo>
                <a:lnTo>
                  <a:pt x="0" y="376"/>
                </a:lnTo>
                <a:lnTo>
                  <a:pt x="1" y="381"/>
                </a:lnTo>
                <a:lnTo>
                  <a:pt x="2" y="384"/>
                </a:lnTo>
                <a:lnTo>
                  <a:pt x="5" y="388"/>
                </a:lnTo>
                <a:lnTo>
                  <a:pt x="10" y="390"/>
                </a:lnTo>
                <a:lnTo>
                  <a:pt x="336" y="521"/>
                </a:lnTo>
                <a:lnTo>
                  <a:pt x="336" y="812"/>
                </a:lnTo>
                <a:lnTo>
                  <a:pt x="336" y="817"/>
                </a:lnTo>
                <a:lnTo>
                  <a:pt x="338" y="821"/>
                </a:lnTo>
                <a:lnTo>
                  <a:pt x="342" y="825"/>
                </a:lnTo>
                <a:lnTo>
                  <a:pt x="346" y="827"/>
                </a:lnTo>
                <a:lnTo>
                  <a:pt x="348" y="827"/>
                </a:lnTo>
                <a:lnTo>
                  <a:pt x="351" y="827"/>
                </a:lnTo>
                <a:lnTo>
                  <a:pt x="354" y="827"/>
                </a:lnTo>
                <a:lnTo>
                  <a:pt x="357" y="826"/>
                </a:lnTo>
                <a:lnTo>
                  <a:pt x="360" y="823"/>
                </a:lnTo>
                <a:lnTo>
                  <a:pt x="363" y="820"/>
                </a:lnTo>
                <a:lnTo>
                  <a:pt x="492" y="605"/>
                </a:lnTo>
                <a:lnTo>
                  <a:pt x="729" y="730"/>
                </a:lnTo>
                <a:lnTo>
                  <a:pt x="732" y="732"/>
                </a:lnTo>
                <a:lnTo>
                  <a:pt x="736" y="732"/>
                </a:lnTo>
                <a:lnTo>
                  <a:pt x="739" y="732"/>
                </a:lnTo>
                <a:lnTo>
                  <a:pt x="742" y="731"/>
                </a:lnTo>
                <a:lnTo>
                  <a:pt x="745" y="729"/>
                </a:lnTo>
                <a:lnTo>
                  <a:pt x="747" y="727"/>
                </a:lnTo>
                <a:lnTo>
                  <a:pt x="749" y="724"/>
                </a:lnTo>
                <a:lnTo>
                  <a:pt x="751" y="721"/>
                </a:lnTo>
                <a:lnTo>
                  <a:pt x="906" y="18"/>
                </a:lnTo>
                <a:lnTo>
                  <a:pt x="906" y="17"/>
                </a:lnTo>
                <a:lnTo>
                  <a:pt x="906" y="17"/>
                </a:lnTo>
                <a:lnTo>
                  <a:pt x="907" y="16"/>
                </a:lnTo>
                <a:lnTo>
                  <a:pt x="907" y="15"/>
                </a:lnTo>
                <a:close/>
              </a:path>
            </a:pathLst>
          </a:custGeom>
          <a:solidFill>
            <a:schemeClr val="bg1"/>
          </a:solidFill>
          <a:ln>
            <a:noFill/>
          </a:ln>
          <a:effectLst>
            <a:outerShdw blurRad="50800" dist="38100" dir="5400000" algn="t"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a:p>
        </p:txBody>
      </p:sp>
      <p:grpSp>
        <p:nvGrpSpPr>
          <p:cNvPr id="69" name="Group 68">
            <a:extLst>
              <a:ext uri="{FF2B5EF4-FFF2-40B4-BE49-F238E27FC236}">
                <a16:creationId xmlns:a16="http://schemas.microsoft.com/office/drawing/2014/main" id="{39D2748B-A6BE-4159-A5A8-6EC820DCA0B5}"/>
              </a:ext>
            </a:extLst>
          </p:cNvPr>
          <p:cNvGrpSpPr/>
          <p:nvPr/>
        </p:nvGrpSpPr>
        <p:grpSpPr>
          <a:xfrm>
            <a:off x="711275" y="4143357"/>
            <a:ext cx="220663" cy="287338"/>
            <a:chOff x="11066463" y="1360488"/>
            <a:chExt cx="220663" cy="287338"/>
          </a:xfrm>
          <a:solidFill>
            <a:schemeClr val="bg1"/>
          </a:solidFill>
          <a:effectLst>
            <a:outerShdw blurRad="50800" dist="38100" dir="5400000" algn="t" rotWithShape="0">
              <a:prstClr val="black">
                <a:alpha val="20000"/>
              </a:prstClr>
            </a:outerShdw>
          </a:effectLst>
        </p:grpSpPr>
        <p:sp>
          <p:nvSpPr>
            <p:cNvPr id="70" name="Freeform 180">
              <a:extLst>
                <a:ext uri="{FF2B5EF4-FFF2-40B4-BE49-F238E27FC236}">
                  <a16:creationId xmlns:a16="http://schemas.microsoft.com/office/drawing/2014/main" id="{A29AD480-0776-46B3-97B5-2BD5C090C2FD}"/>
                </a:ext>
              </a:extLst>
            </p:cNvPr>
            <p:cNvSpPr>
              <a:spLocks noEditPoints="1"/>
            </p:cNvSpPr>
            <p:nvPr/>
          </p:nvSpPr>
          <p:spPr bwMode="auto">
            <a:xfrm>
              <a:off x="11066463" y="1360488"/>
              <a:ext cx="220663" cy="287338"/>
            </a:xfrm>
            <a:custGeom>
              <a:avLst/>
              <a:gdLst>
                <a:gd name="T0" fmla="*/ 30 w 691"/>
                <a:gd name="T1" fmla="*/ 871 h 901"/>
                <a:gd name="T2" fmla="*/ 30 w 691"/>
                <a:gd name="T3" fmla="*/ 30 h 901"/>
                <a:gd name="T4" fmla="*/ 421 w 691"/>
                <a:gd name="T5" fmla="*/ 30 h 901"/>
                <a:gd name="T6" fmla="*/ 421 w 691"/>
                <a:gd name="T7" fmla="*/ 254 h 901"/>
                <a:gd name="T8" fmla="*/ 421 w 691"/>
                <a:gd name="T9" fmla="*/ 258 h 901"/>
                <a:gd name="T10" fmla="*/ 422 w 691"/>
                <a:gd name="T11" fmla="*/ 261 h 901"/>
                <a:gd name="T12" fmla="*/ 423 w 691"/>
                <a:gd name="T13" fmla="*/ 263 h 901"/>
                <a:gd name="T14" fmla="*/ 425 w 691"/>
                <a:gd name="T15" fmla="*/ 265 h 901"/>
                <a:gd name="T16" fmla="*/ 427 w 691"/>
                <a:gd name="T17" fmla="*/ 267 h 901"/>
                <a:gd name="T18" fmla="*/ 429 w 691"/>
                <a:gd name="T19" fmla="*/ 268 h 901"/>
                <a:gd name="T20" fmla="*/ 432 w 691"/>
                <a:gd name="T21" fmla="*/ 269 h 901"/>
                <a:gd name="T22" fmla="*/ 436 w 691"/>
                <a:gd name="T23" fmla="*/ 269 h 901"/>
                <a:gd name="T24" fmla="*/ 660 w 691"/>
                <a:gd name="T25" fmla="*/ 269 h 901"/>
                <a:gd name="T26" fmla="*/ 660 w 691"/>
                <a:gd name="T27" fmla="*/ 871 h 901"/>
                <a:gd name="T28" fmla="*/ 30 w 691"/>
                <a:gd name="T29" fmla="*/ 871 h 901"/>
                <a:gd name="T30" fmla="*/ 450 w 691"/>
                <a:gd name="T31" fmla="*/ 52 h 901"/>
                <a:gd name="T32" fmla="*/ 640 w 691"/>
                <a:gd name="T33" fmla="*/ 239 h 901"/>
                <a:gd name="T34" fmla="*/ 450 w 691"/>
                <a:gd name="T35" fmla="*/ 239 h 901"/>
                <a:gd name="T36" fmla="*/ 450 w 691"/>
                <a:gd name="T37" fmla="*/ 52 h 901"/>
                <a:gd name="T38" fmla="*/ 686 w 691"/>
                <a:gd name="T39" fmla="*/ 244 h 901"/>
                <a:gd name="T40" fmla="*/ 446 w 691"/>
                <a:gd name="T41" fmla="*/ 4 h 901"/>
                <a:gd name="T42" fmla="*/ 444 w 691"/>
                <a:gd name="T43" fmla="*/ 2 h 901"/>
                <a:gd name="T44" fmla="*/ 441 w 691"/>
                <a:gd name="T45" fmla="*/ 1 h 901"/>
                <a:gd name="T46" fmla="*/ 439 w 691"/>
                <a:gd name="T47" fmla="*/ 0 h 901"/>
                <a:gd name="T48" fmla="*/ 436 w 691"/>
                <a:gd name="T49" fmla="*/ 0 h 901"/>
                <a:gd name="T50" fmla="*/ 15 w 691"/>
                <a:gd name="T51" fmla="*/ 0 h 901"/>
                <a:gd name="T52" fmla="*/ 12 w 691"/>
                <a:gd name="T53" fmla="*/ 0 h 901"/>
                <a:gd name="T54" fmla="*/ 9 w 691"/>
                <a:gd name="T55" fmla="*/ 1 h 901"/>
                <a:gd name="T56" fmla="*/ 6 w 691"/>
                <a:gd name="T57" fmla="*/ 2 h 901"/>
                <a:gd name="T58" fmla="*/ 4 w 691"/>
                <a:gd name="T59" fmla="*/ 4 h 901"/>
                <a:gd name="T60" fmla="*/ 2 w 691"/>
                <a:gd name="T61" fmla="*/ 6 h 901"/>
                <a:gd name="T62" fmla="*/ 1 w 691"/>
                <a:gd name="T63" fmla="*/ 9 h 901"/>
                <a:gd name="T64" fmla="*/ 0 w 691"/>
                <a:gd name="T65" fmla="*/ 11 h 901"/>
                <a:gd name="T66" fmla="*/ 0 w 691"/>
                <a:gd name="T67" fmla="*/ 15 h 901"/>
                <a:gd name="T68" fmla="*/ 0 w 691"/>
                <a:gd name="T69" fmla="*/ 886 h 901"/>
                <a:gd name="T70" fmla="*/ 0 w 691"/>
                <a:gd name="T71" fmla="*/ 889 h 901"/>
                <a:gd name="T72" fmla="*/ 1 w 691"/>
                <a:gd name="T73" fmla="*/ 891 h 901"/>
                <a:gd name="T74" fmla="*/ 2 w 691"/>
                <a:gd name="T75" fmla="*/ 894 h 901"/>
                <a:gd name="T76" fmla="*/ 4 w 691"/>
                <a:gd name="T77" fmla="*/ 897 h 901"/>
                <a:gd name="T78" fmla="*/ 6 w 691"/>
                <a:gd name="T79" fmla="*/ 898 h 901"/>
                <a:gd name="T80" fmla="*/ 9 w 691"/>
                <a:gd name="T81" fmla="*/ 900 h 901"/>
                <a:gd name="T82" fmla="*/ 12 w 691"/>
                <a:gd name="T83" fmla="*/ 900 h 901"/>
                <a:gd name="T84" fmla="*/ 15 w 691"/>
                <a:gd name="T85" fmla="*/ 901 h 901"/>
                <a:gd name="T86" fmla="*/ 676 w 691"/>
                <a:gd name="T87" fmla="*/ 901 h 901"/>
                <a:gd name="T88" fmla="*/ 678 w 691"/>
                <a:gd name="T89" fmla="*/ 900 h 901"/>
                <a:gd name="T90" fmla="*/ 682 w 691"/>
                <a:gd name="T91" fmla="*/ 900 h 901"/>
                <a:gd name="T92" fmla="*/ 684 w 691"/>
                <a:gd name="T93" fmla="*/ 898 h 901"/>
                <a:gd name="T94" fmla="*/ 686 w 691"/>
                <a:gd name="T95" fmla="*/ 897 h 901"/>
                <a:gd name="T96" fmla="*/ 688 w 691"/>
                <a:gd name="T97" fmla="*/ 894 h 901"/>
                <a:gd name="T98" fmla="*/ 689 w 691"/>
                <a:gd name="T99" fmla="*/ 891 h 901"/>
                <a:gd name="T100" fmla="*/ 690 w 691"/>
                <a:gd name="T101" fmla="*/ 889 h 901"/>
                <a:gd name="T102" fmla="*/ 691 w 691"/>
                <a:gd name="T103" fmla="*/ 886 h 901"/>
                <a:gd name="T104" fmla="*/ 691 w 691"/>
                <a:gd name="T105" fmla="*/ 254 h 901"/>
                <a:gd name="T106" fmla="*/ 689 w 691"/>
                <a:gd name="T107" fmla="*/ 249 h 901"/>
                <a:gd name="T108" fmla="*/ 686 w 691"/>
                <a:gd name="T109" fmla="*/ 244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91" h="901">
                  <a:moveTo>
                    <a:pt x="30" y="871"/>
                  </a:moveTo>
                  <a:lnTo>
                    <a:pt x="30" y="30"/>
                  </a:lnTo>
                  <a:lnTo>
                    <a:pt x="421" y="30"/>
                  </a:lnTo>
                  <a:lnTo>
                    <a:pt x="421" y="254"/>
                  </a:lnTo>
                  <a:lnTo>
                    <a:pt x="421" y="258"/>
                  </a:lnTo>
                  <a:lnTo>
                    <a:pt x="422" y="261"/>
                  </a:lnTo>
                  <a:lnTo>
                    <a:pt x="423" y="263"/>
                  </a:lnTo>
                  <a:lnTo>
                    <a:pt x="425" y="265"/>
                  </a:lnTo>
                  <a:lnTo>
                    <a:pt x="427" y="267"/>
                  </a:lnTo>
                  <a:lnTo>
                    <a:pt x="429" y="268"/>
                  </a:lnTo>
                  <a:lnTo>
                    <a:pt x="432" y="269"/>
                  </a:lnTo>
                  <a:lnTo>
                    <a:pt x="436" y="269"/>
                  </a:lnTo>
                  <a:lnTo>
                    <a:pt x="660" y="269"/>
                  </a:lnTo>
                  <a:lnTo>
                    <a:pt x="660" y="871"/>
                  </a:lnTo>
                  <a:lnTo>
                    <a:pt x="30" y="871"/>
                  </a:lnTo>
                  <a:close/>
                  <a:moveTo>
                    <a:pt x="450" y="52"/>
                  </a:moveTo>
                  <a:lnTo>
                    <a:pt x="640" y="239"/>
                  </a:lnTo>
                  <a:lnTo>
                    <a:pt x="450" y="239"/>
                  </a:lnTo>
                  <a:lnTo>
                    <a:pt x="450" y="52"/>
                  </a:lnTo>
                  <a:close/>
                  <a:moveTo>
                    <a:pt x="686" y="244"/>
                  </a:moveTo>
                  <a:lnTo>
                    <a:pt x="446" y="4"/>
                  </a:lnTo>
                  <a:lnTo>
                    <a:pt x="444" y="2"/>
                  </a:lnTo>
                  <a:lnTo>
                    <a:pt x="441" y="1"/>
                  </a:lnTo>
                  <a:lnTo>
                    <a:pt x="439" y="0"/>
                  </a:lnTo>
                  <a:lnTo>
                    <a:pt x="436" y="0"/>
                  </a:lnTo>
                  <a:lnTo>
                    <a:pt x="15" y="0"/>
                  </a:lnTo>
                  <a:lnTo>
                    <a:pt x="12" y="0"/>
                  </a:lnTo>
                  <a:lnTo>
                    <a:pt x="9" y="1"/>
                  </a:lnTo>
                  <a:lnTo>
                    <a:pt x="6" y="2"/>
                  </a:lnTo>
                  <a:lnTo>
                    <a:pt x="4" y="4"/>
                  </a:lnTo>
                  <a:lnTo>
                    <a:pt x="2" y="6"/>
                  </a:lnTo>
                  <a:lnTo>
                    <a:pt x="1" y="9"/>
                  </a:lnTo>
                  <a:lnTo>
                    <a:pt x="0" y="11"/>
                  </a:lnTo>
                  <a:lnTo>
                    <a:pt x="0" y="15"/>
                  </a:lnTo>
                  <a:lnTo>
                    <a:pt x="0" y="886"/>
                  </a:lnTo>
                  <a:lnTo>
                    <a:pt x="0" y="889"/>
                  </a:lnTo>
                  <a:lnTo>
                    <a:pt x="1" y="891"/>
                  </a:lnTo>
                  <a:lnTo>
                    <a:pt x="2" y="894"/>
                  </a:lnTo>
                  <a:lnTo>
                    <a:pt x="4" y="897"/>
                  </a:lnTo>
                  <a:lnTo>
                    <a:pt x="6" y="898"/>
                  </a:lnTo>
                  <a:lnTo>
                    <a:pt x="9" y="900"/>
                  </a:lnTo>
                  <a:lnTo>
                    <a:pt x="12" y="900"/>
                  </a:lnTo>
                  <a:lnTo>
                    <a:pt x="15" y="901"/>
                  </a:lnTo>
                  <a:lnTo>
                    <a:pt x="676" y="901"/>
                  </a:lnTo>
                  <a:lnTo>
                    <a:pt x="678" y="900"/>
                  </a:lnTo>
                  <a:lnTo>
                    <a:pt x="682" y="900"/>
                  </a:lnTo>
                  <a:lnTo>
                    <a:pt x="684" y="898"/>
                  </a:lnTo>
                  <a:lnTo>
                    <a:pt x="686" y="897"/>
                  </a:lnTo>
                  <a:lnTo>
                    <a:pt x="688" y="894"/>
                  </a:lnTo>
                  <a:lnTo>
                    <a:pt x="689" y="891"/>
                  </a:lnTo>
                  <a:lnTo>
                    <a:pt x="690" y="889"/>
                  </a:lnTo>
                  <a:lnTo>
                    <a:pt x="691" y="886"/>
                  </a:lnTo>
                  <a:lnTo>
                    <a:pt x="691" y="254"/>
                  </a:lnTo>
                  <a:lnTo>
                    <a:pt x="689" y="249"/>
                  </a:lnTo>
                  <a:lnTo>
                    <a:pt x="686" y="2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81">
              <a:extLst>
                <a:ext uri="{FF2B5EF4-FFF2-40B4-BE49-F238E27FC236}">
                  <a16:creationId xmlns:a16="http://schemas.microsoft.com/office/drawing/2014/main" id="{DEECE333-C409-4CEA-9FE2-44E0B5325545}"/>
                </a:ext>
              </a:extLst>
            </p:cNvPr>
            <p:cNvSpPr>
              <a:spLocks/>
            </p:cNvSpPr>
            <p:nvPr/>
          </p:nvSpPr>
          <p:spPr bwMode="auto">
            <a:xfrm>
              <a:off x="11180763" y="1474788"/>
              <a:ext cx="57150" cy="9525"/>
            </a:xfrm>
            <a:custGeom>
              <a:avLst/>
              <a:gdLst>
                <a:gd name="T0" fmla="*/ 167 w 182"/>
                <a:gd name="T1" fmla="*/ 0 h 31"/>
                <a:gd name="T2" fmla="*/ 15 w 182"/>
                <a:gd name="T3" fmla="*/ 0 h 31"/>
                <a:gd name="T4" fmla="*/ 13 w 182"/>
                <a:gd name="T5" fmla="*/ 1 h 31"/>
                <a:gd name="T6" fmla="*/ 10 w 182"/>
                <a:gd name="T7" fmla="*/ 2 h 31"/>
                <a:gd name="T8" fmla="*/ 8 w 182"/>
                <a:gd name="T9" fmla="*/ 3 h 31"/>
                <a:gd name="T10" fmla="*/ 5 w 182"/>
                <a:gd name="T11" fmla="*/ 6 h 31"/>
                <a:gd name="T12" fmla="*/ 4 w 182"/>
                <a:gd name="T13" fmla="*/ 8 h 31"/>
                <a:gd name="T14" fmla="*/ 1 w 182"/>
                <a:gd name="T15" fmla="*/ 10 h 31"/>
                <a:gd name="T16" fmla="*/ 1 w 182"/>
                <a:gd name="T17" fmla="*/ 13 h 31"/>
                <a:gd name="T18" fmla="*/ 0 w 182"/>
                <a:gd name="T19" fmla="*/ 15 h 31"/>
                <a:gd name="T20" fmla="*/ 1 w 182"/>
                <a:gd name="T21" fmla="*/ 20 h 31"/>
                <a:gd name="T22" fmla="*/ 1 w 182"/>
                <a:gd name="T23" fmla="*/ 22 h 31"/>
                <a:gd name="T24" fmla="*/ 4 w 182"/>
                <a:gd name="T25" fmla="*/ 25 h 31"/>
                <a:gd name="T26" fmla="*/ 5 w 182"/>
                <a:gd name="T27" fmla="*/ 27 h 31"/>
                <a:gd name="T28" fmla="*/ 8 w 182"/>
                <a:gd name="T29" fmla="*/ 28 h 31"/>
                <a:gd name="T30" fmla="*/ 10 w 182"/>
                <a:gd name="T31" fmla="*/ 30 h 31"/>
                <a:gd name="T32" fmla="*/ 13 w 182"/>
                <a:gd name="T33" fmla="*/ 30 h 31"/>
                <a:gd name="T34" fmla="*/ 15 w 182"/>
                <a:gd name="T35" fmla="*/ 31 h 31"/>
                <a:gd name="T36" fmla="*/ 167 w 182"/>
                <a:gd name="T37" fmla="*/ 31 h 31"/>
                <a:gd name="T38" fmla="*/ 171 w 182"/>
                <a:gd name="T39" fmla="*/ 30 h 31"/>
                <a:gd name="T40" fmla="*/ 173 w 182"/>
                <a:gd name="T41" fmla="*/ 30 h 31"/>
                <a:gd name="T42" fmla="*/ 176 w 182"/>
                <a:gd name="T43" fmla="*/ 28 h 31"/>
                <a:gd name="T44" fmla="*/ 178 w 182"/>
                <a:gd name="T45" fmla="*/ 27 h 31"/>
                <a:gd name="T46" fmla="*/ 180 w 182"/>
                <a:gd name="T47" fmla="*/ 25 h 31"/>
                <a:gd name="T48" fmla="*/ 181 w 182"/>
                <a:gd name="T49" fmla="*/ 22 h 31"/>
                <a:gd name="T50" fmla="*/ 182 w 182"/>
                <a:gd name="T51" fmla="*/ 20 h 31"/>
                <a:gd name="T52" fmla="*/ 182 w 182"/>
                <a:gd name="T53" fmla="*/ 15 h 31"/>
                <a:gd name="T54" fmla="*/ 182 w 182"/>
                <a:gd name="T55" fmla="*/ 13 h 31"/>
                <a:gd name="T56" fmla="*/ 181 w 182"/>
                <a:gd name="T57" fmla="*/ 10 h 31"/>
                <a:gd name="T58" fmla="*/ 180 w 182"/>
                <a:gd name="T59" fmla="*/ 8 h 31"/>
                <a:gd name="T60" fmla="*/ 178 w 182"/>
                <a:gd name="T61" fmla="*/ 6 h 31"/>
                <a:gd name="T62" fmla="*/ 176 w 182"/>
                <a:gd name="T63" fmla="*/ 3 h 31"/>
                <a:gd name="T64" fmla="*/ 173 w 182"/>
                <a:gd name="T65" fmla="*/ 2 h 31"/>
                <a:gd name="T66" fmla="*/ 171 w 182"/>
                <a:gd name="T67" fmla="*/ 1 h 31"/>
                <a:gd name="T68" fmla="*/ 167 w 182"/>
                <a:gd name="T6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31">
                  <a:moveTo>
                    <a:pt x="167" y="0"/>
                  </a:moveTo>
                  <a:lnTo>
                    <a:pt x="15" y="0"/>
                  </a:lnTo>
                  <a:lnTo>
                    <a:pt x="13" y="1"/>
                  </a:lnTo>
                  <a:lnTo>
                    <a:pt x="10" y="2"/>
                  </a:lnTo>
                  <a:lnTo>
                    <a:pt x="8" y="3"/>
                  </a:lnTo>
                  <a:lnTo>
                    <a:pt x="5" y="6"/>
                  </a:lnTo>
                  <a:lnTo>
                    <a:pt x="4" y="8"/>
                  </a:lnTo>
                  <a:lnTo>
                    <a:pt x="1" y="10"/>
                  </a:lnTo>
                  <a:lnTo>
                    <a:pt x="1" y="13"/>
                  </a:lnTo>
                  <a:lnTo>
                    <a:pt x="0" y="15"/>
                  </a:lnTo>
                  <a:lnTo>
                    <a:pt x="1" y="20"/>
                  </a:lnTo>
                  <a:lnTo>
                    <a:pt x="1" y="22"/>
                  </a:lnTo>
                  <a:lnTo>
                    <a:pt x="4" y="25"/>
                  </a:lnTo>
                  <a:lnTo>
                    <a:pt x="5" y="27"/>
                  </a:lnTo>
                  <a:lnTo>
                    <a:pt x="8" y="28"/>
                  </a:lnTo>
                  <a:lnTo>
                    <a:pt x="10" y="30"/>
                  </a:lnTo>
                  <a:lnTo>
                    <a:pt x="13" y="30"/>
                  </a:lnTo>
                  <a:lnTo>
                    <a:pt x="15" y="31"/>
                  </a:lnTo>
                  <a:lnTo>
                    <a:pt x="167" y="31"/>
                  </a:lnTo>
                  <a:lnTo>
                    <a:pt x="171" y="30"/>
                  </a:lnTo>
                  <a:lnTo>
                    <a:pt x="173" y="30"/>
                  </a:lnTo>
                  <a:lnTo>
                    <a:pt x="176" y="28"/>
                  </a:lnTo>
                  <a:lnTo>
                    <a:pt x="178" y="27"/>
                  </a:lnTo>
                  <a:lnTo>
                    <a:pt x="180" y="25"/>
                  </a:lnTo>
                  <a:lnTo>
                    <a:pt x="181" y="22"/>
                  </a:lnTo>
                  <a:lnTo>
                    <a:pt x="182" y="20"/>
                  </a:lnTo>
                  <a:lnTo>
                    <a:pt x="182" y="15"/>
                  </a:lnTo>
                  <a:lnTo>
                    <a:pt x="182" y="13"/>
                  </a:lnTo>
                  <a:lnTo>
                    <a:pt x="181" y="10"/>
                  </a:lnTo>
                  <a:lnTo>
                    <a:pt x="180" y="8"/>
                  </a:lnTo>
                  <a:lnTo>
                    <a:pt x="178" y="6"/>
                  </a:lnTo>
                  <a:lnTo>
                    <a:pt x="176" y="3"/>
                  </a:lnTo>
                  <a:lnTo>
                    <a:pt x="173" y="2"/>
                  </a:lnTo>
                  <a:lnTo>
                    <a:pt x="171" y="1"/>
                  </a:lnTo>
                  <a:lnTo>
                    <a:pt x="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182">
              <a:extLst>
                <a:ext uri="{FF2B5EF4-FFF2-40B4-BE49-F238E27FC236}">
                  <a16:creationId xmlns:a16="http://schemas.microsoft.com/office/drawing/2014/main" id="{6A62211F-2337-474E-98A3-F13ADD55CA73}"/>
                </a:ext>
              </a:extLst>
            </p:cNvPr>
            <p:cNvSpPr>
              <a:spLocks/>
            </p:cNvSpPr>
            <p:nvPr/>
          </p:nvSpPr>
          <p:spPr bwMode="auto">
            <a:xfrm>
              <a:off x="11180763" y="1522413"/>
              <a:ext cx="57150" cy="9525"/>
            </a:xfrm>
            <a:custGeom>
              <a:avLst/>
              <a:gdLst>
                <a:gd name="T0" fmla="*/ 167 w 182"/>
                <a:gd name="T1" fmla="*/ 0 h 30"/>
                <a:gd name="T2" fmla="*/ 15 w 182"/>
                <a:gd name="T3" fmla="*/ 0 h 30"/>
                <a:gd name="T4" fmla="*/ 13 w 182"/>
                <a:gd name="T5" fmla="*/ 0 h 30"/>
                <a:gd name="T6" fmla="*/ 10 w 182"/>
                <a:gd name="T7" fmla="*/ 1 h 30"/>
                <a:gd name="T8" fmla="*/ 8 w 182"/>
                <a:gd name="T9" fmla="*/ 2 h 30"/>
                <a:gd name="T10" fmla="*/ 5 w 182"/>
                <a:gd name="T11" fmla="*/ 4 h 30"/>
                <a:gd name="T12" fmla="*/ 4 w 182"/>
                <a:gd name="T13" fmla="*/ 7 h 30"/>
                <a:gd name="T14" fmla="*/ 1 w 182"/>
                <a:gd name="T15" fmla="*/ 10 h 30"/>
                <a:gd name="T16" fmla="*/ 1 w 182"/>
                <a:gd name="T17" fmla="*/ 12 h 30"/>
                <a:gd name="T18" fmla="*/ 0 w 182"/>
                <a:gd name="T19" fmla="*/ 15 h 30"/>
                <a:gd name="T20" fmla="*/ 1 w 182"/>
                <a:gd name="T21" fmla="*/ 18 h 30"/>
                <a:gd name="T22" fmla="*/ 1 w 182"/>
                <a:gd name="T23" fmla="*/ 22 h 30"/>
                <a:gd name="T24" fmla="*/ 4 w 182"/>
                <a:gd name="T25" fmla="*/ 24 h 30"/>
                <a:gd name="T26" fmla="*/ 5 w 182"/>
                <a:gd name="T27" fmla="*/ 26 h 30"/>
                <a:gd name="T28" fmla="*/ 8 w 182"/>
                <a:gd name="T29" fmla="*/ 28 h 30"/>
                <a:gd name="T30" fmla="*/ 10 w 182"/>
                <a:gd name="T31" fmla="*/ 29 h 30"/>
                <a:gd name="T32" fmla="*/ 13 w 182"/>
                <a:gd name="T33" fmla="*/ 30 h 30"/>
                <a:gd name="T34" fmla="*/ 15 w 182"/>
                <a:gd name="T35" fmla="*/ 30 h 30"/>
                <a:gd name="T36" fmla="*/ 167 w 182"/>
                <a:gd name="T37" fmla="*/ 30 h 30"/>
                <a:gd name="T38" fmla="*/ 171 w 182"/>
                <a:gd name="T39" fmla="*/ 30 h 30"/>
                <a:gd name="T40" fmla="*/ 173 w 182"/>
                <a:gd name="T41" fmla="*/ 29 h 30"/>
                <a:gd name="T42" fmla="*/ 176 w 182"/>
                <a:gd name="T43" fmla="*/ 28 h 30"/>
                <a:gd name="T44" fmla="*/ 178 w 182"/>
                <a:gd name="T45" fmla="*/ 26 h 30"/>
                <a:gd name="T46" fmla="*/ 180 w 182"/>
                <a:gd name="T47" fmla="*/ 24 h 30"/>
                <a:gd name="T48" fmla="*/ 181 w 182"/>
                <a:gd name="T49" fmla="*/ 22 h 30"/>
                <a:gd name="T50" fmla="*/ 182 w 182"/>
                <a:gd name="T51" fmla="*/ 18 h 30"/>
                <a:gd name="T52" fmla="*/ 182 w 182"/>
                <a:gd name="T53" fmla="*/ 15 h 30"/>
                <a:gd name="T54" fmla="*/ 182 w 182"/>
                <a:gd name="T55" fmla="*/ 12 h 30"/>
                <a:gd name="T56" fmla="*/ 181 w 182"/>
                <a:gd name="T57" fmla="*/ 10 h 30"/>
                <a:gd name="T58" fmla="*/ 180 w 182"/>
                <a:gd name="T59" fmla="*/ 7 h 30"/>
                <a:gd name="T60" fmla="*/ 178 w 182"/>
                <a:gd name="T61" fmla="*/ 4 h 30"/>
                <a:gd name="T62" fmla="*/ 176 w 182"/>
                <a:gd name="T63" fmla="*/ 2 h 30"/>
                <a:gd name="T64" fmla="*/ 173 w 182"/>
                <a:gd name="T65" fmla="*/ 1 h 30"/>
                <a:gd name="T66" fmla="*/ 171 w 182"/>
                <a:gd name="T67" fmla="*/ 0 h 30"/>
                <a:gd name="T68" fmla="*/ 167 w 182"/>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30">
                  <a:moveTo>
                    <a:pt x="167" y="0"/>
                  </a:moveTo>
                  <a:lnTo>
                    <a:pt x="15" y="0"/>
                  </a:lnTo>
                  <a:lnTo>
                    <a:pt x="13" y="0"/>
                  </a:lnTo>
                  <a:lnTo>
                    <a:pt x="10" y="1"/>
                  </a:lnTo>
                  <a:lnTo>
                    <a:pt x="8" y="2"/>
                  </a:lnTo>
                  <a:lnTo>
                    <a:pt x="5" y="4"/>
                  </a:lnTo>
                  <a:lnTo>
                    <a:pt x="4" y="7"/>
                  </a:lnTo>
                  <a:lnTo>
                    <a:pt x="1" y="10"/>
                  </a:lnTo>
                  <a:lnTo>
                    <a:pt x="1" y="12"/>
                  </a:lnTo>
                  <a:lnTo>
                    <a:pt x="0" y="15"/>
                  </a:lnTo>
                  <a:lnTo>
                    <a:pt x="1" y="18"/>
                  </a:lnTo>
                  <a:lnTo>
                    <a:pt x="1" y="22"/>
                  </a:lnTo>
                  <a:lnTo>
                    <a:pt x="4" y="24"/>
                  </a:lnTo>
                  <a:lnTo>
                    <a:pt x="5" y="26"/>
                  </a:lnTo>
                  <a:lnTo>
                    <a:pt x="8" y="28"/>
                  </a:lnTo>
                  <a:lnTo>
                    <a:pt x="10" y="29"/>
                  </a:lnTo>
                  <a:lnTo>
                    <a:pt x="13" y="30"/>
                  </a:lnTo>
                  <a:lnTo>
                    <a:pt x="15" y="30"/>
                  </a:lnTo>
                  <a:lnTo>
                    <a:pt x="167" y="30"/>
                  </a:lnTo>
                  <a:lnTo>
                    <a:pt x="171" y="30"/>
                  </a:lnTo>
                  <a:lnTo>
                    <a:pt x="173" y="29"/>
                  </a:lnTo>
                  <a:lnTo>
                    <a:pt x="176" y="28"/>
                  </a:lnTo>
                  <a:lnTo>
                    <a:pt x="178" y="26"/>
                  </a:lnTo>
                  <a:lnTo>
                    <a:pt x="180" y="24"/>
                  </a:lnTo>
                  <a:lnTo>
                    <a:pt x="181" y="22"/>
                  </a:lnTo>
                  <a:lnTo>
                    <a:pt x="182" y="18"/>
                  </a:lnTo>
                  <a:lnTo>
                    <a:pt x="182" y="15"/>
                  </a:lnTo>
                  <a:lnTo>
                    <a:pt x="182" y="12"/>
                  </a:lnTo>
                  <a:lnTo>
                    <a:pt x="181" y="10"/>
                  </a:lnTo>
                  <a:lnTo>
                    <a:pt x="180" y="7"/>
                  </a:lnTo>
                  <a:lnTo>
                    <a:pt x="178" y="4"/>
                  </a:lnTo>
                  <a:lnTo>
                    <a:pt x="176" y="2"/>
                  </a:lnTo>
                  <a:lnTo>
                    <a:pt x="173" y="1"/>
                  </a:lnTo>
                  <a:lnTo>
                    <a:pt x="171" y="0"/>
                  </a:lnTo>
                  <a:lnTo>
                    <a:pt x="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83">
              <a:extLst>
                <a:ext uri="{FF2B5EF4-FFF2-40B4-BE49-F238E27FC236}">
                  <a16:creationId xmlns:a16="http://schemas.microsoft.com/office/drawing/2014/main" id="{67F3AA76-2022-4F93-8B47-5535D2B84DD5}"/>
                </a:ext>
              </a:extLst>
            </p:cNvPr>
            <p:cNvSpPr>
              <a:spLocks/>
            </p:cNvSpPr>
            <p:nvPr/>
          </p:nvSpPr>
          <p:spPr bwMode="auto">
            <a:xfrm>
              <a:off x="11180763" y="1579563"/>
              <a:ext cx="57150" cy="9525"/>
            </a:xfrm>
            <a:custGeom>
              <a:avLst/>
              <a:gdLst>
                <a:gd name="T0" fmla="*/ 167 w 182"/>
                <a:gd name="T1" fmla="*/ 0 h 30"/>
                <a:gd name="T2" fmla="*/ 15 w 182"/>
                <a:gd name="T3" fmla="*/ 0 h 30"/>
                <a:gd name="T4" fmla="*/ 13 w 182"/>
                <a:gd name="T5" fmla="*/ 1 h 30"/>
                <a:gd name="T6" fmla="*/ 10 w 182"/>
                <a:gd name="T7" fmla="*/ 1 h 30"/>
                <a:gd name="T8" fmla="*/ 8 w 182"/>
                <a:gd name="T9" fmla="*/ 3 h 30"/>
                <a:gd name="T10" fmla="*/ 5 w 182"/>
                <a:gd name="T11" fmla="*/ 5 h 30"/>
                <a:gd name="T12" fmla="*/ 4 w 182"/>
                <a:gd name="T13" fmla="*/ 7 h 30"/>
                <a:gd name="T14" fmla="*/ 1 w 182"/>
                <a:gd name="T15" fmla="*/ 10 h 30"/>
                <a:gd name="T16" fmla="*/ 1 w 182"/>
                <a:gd name="T17" fmla="*/ 13 h 30"/>
                <a:gd name="T18" fmla="*/ 0 w 182"/>
                <a:gd name="T19" fmla="*/ 15 h 30"/>
                <a:gd name="T20" fmla="*/ 1 w 182"/>
                <a:gd name="T21" fmla="*/ 18 h 30"/>
                <a:gd name="T22" fmla="*/ 1 w 182"/>
                <a:gd name="T23" fmla="*/ 21 h 30"/>
                <a:gd name="T24" fmla="*/ 4 w 182"/>
                <a:gd name="T25" fmla="*/ 24 h 30"/>
                <a:gd name="T26" fmla="*/ 5 w 182"/>
                <a:gd name="T27" fmla="*/ 26 h 30"/>
                <a:gd name="T28" fmla="*/ 8 w 182"/>
                <a:gd name="T29" fmla="*/ 28 h 30"/>
                <a:gd name="T30" fmla="*/ 10 w 182"/>
                <a:gd name="T31" fmla="*/ 29 h 30"/>
                <a:gd name="T32" fmla="*/ 13 w 182"/>
                <a:gd name="T33" fmla="*/ 30 h 30"/>
                <a:gd name="T34" fmla="*/ 15 w 182"/>
                <a:gd name="T35" fmla="*/ 30 h 30"/>
                <a:gd name="T36" fmla="*/ 167 w 182"/>
                <a:gd name="T37" fmla="*/ 30 h 30"/>
                <a:gd name="T38" fmla="*/ 171 w 182"/>
                <a:gd name="T39" fmla="*/ 30 h 30"/>
                <a:gd name="T40" fmla="*/ 173 w 182"/>
                <a:gd name="T41" fmla="*/ 29 h 30"/>
                <a:gd name="T42" fmla="*/ 176 w 182"/>
                <a:gd name="T43" fmla="*/ 28 h 30"/>
                <a:gd name="T44" fmla="*/ 178 w 182"/>
                <a:gd name="T45" fmla="*/ 26 h 30"/>
                <a:gd name="T46" fmla="*/ 180 w 182"/>
                <a:gd name="T47" fmla="*/ 24 h 30"/>
                <a:gd name="T48" fmla="*/ 181 w 182"/>
                <a:gd name="T49" fmla="*/ 21 h 30"/>
                <a:gd name="T50" fmla="*/ 182 w 182"/>
                <a:gd name="T51" fmla="*/ 18 h 30"/>
                <a:gd name="T52" fmla="*/ 182 w 182"/>
                <a:gd name="T53" fmla="*/ 15 h 30"/>
                <a:gd name="T54" fmla="*/ 182 w 182"/>
                <a:gd name="T55" fmla="*/ 13 h 30"/>
                <a:gd name="T56" fmla="*/ 181 w 182"/>
                <a:gd name="T57" fmla="*/ 10 h 30"/>
                <a:gd name="T58" fmla="*/ 180 w 182"/>
                <a:gd name="T59" fmla="*/ 7 h 30"/>
                <a:gd name="T60" fmla="*/ 178 w 182"/>
                <a:gd name="T61" fmla="*/ 5 h 30"/>
                <a:gd name="T62" fmla="*/ 176 w 182"/>
                <a:gd name="T63" fmla="*/ 3 h 30"/>
                <a:gd name="T64" fmla="*/ 173 w 182"/>
                <a:gd name="T65" fmla="*/ 1 h 30"/>
                <a:gd name="T66" fmla="*/ 171 w 182"/>
                <a:gd name="T67" fmla="*/ 1 h 30"/>
                <a:gd name="T68" fmla="*/ 167 w 182"/>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30">
                  <a:moveTo>
                    <a:pt x="167" y="0"/>
                  </a:moveTo>
                  <a:lnTo>
                    <a:pt x="15" y="0"/>
                  </a:lnTo>
                  <a:lnTo>
                    <a:pt x="13" y="1"/>
                  </a:lnTo>
                  <a:lnTo>
                    <a:pt x="10" y="1"/>
                  </a:lnTo>
                  <a:lnTo>
                    <a:pt x="8" y="3"/>
                  </a:lnTo>
                  <a:lnTo>
                    <a:pt x="5" y="5"/>
                  </a:lnTo>
                  <a:lnTo>
                    <a:pt x="4" y="7"/>
                  </a:lnTo>
                  <a:lnTo>
                    <a:pt x="1" y="10"/>
                  </a:lnTo>
                  <a:lnTo>
                    <a:pt x="1" y="13"/>
                  </a:lnTo>
                  <a:lnTo>
                    <a:pt x="0" y="15"/>
                  </a:lnTo>
                  <a:lnTo>
                    <a:pt x="1" y="18"/>
                  </a:lnTo>
                  <a:lnTo>
                    <a:pt x="1" y="21"/>
                  </a:lnTo>
                  <a:lnTo>
                    <a:pt x="4" y="24"/>
                  </a:lnTo>
                  <a:lnTo>
                    <a:pt x="5" y="26"/>
                  </a:lnTo>
                  <a:lnTo>
                    <a:pt x="8" y="28"/>
                  </a:lnTo>
                  <a:lnTo>
                    <a:pt x="10" y="29"/>
                  </a:lnTo>
                  <a:lnTo>
                    <a:pt x="13" y="30"/>
                  </a:lnTo>
                  <a:lnTo>
                    <a:pt x="15" y="30"/>
                  </a:lnTo>
                  <a:lnTo>
                    <a:pt x="167" y="30"/>
                  </a:lnTo>
                  <a:lnTo>
                    <a:pt x="171" y="30"/>
                  </a:lnTo>
                  <a:lnTo>
                    <a:pt x="173" y="29"/>
                  </a:lnTo>
                  <a:lnTo>
                    <a:pt x="176" y="28"/>
                  </a:lnTo>
                  <a:lnTo>
                    <a:pt x="178" y="26"/>
                  </a:lnTo>
                  <a:lnTo>
                    <a:pt x="180" y="24"/>
                  </a:lnTo>
                  <a:lnTo>
                    <a:pt x="181" y="21"/>
                  </a:lnTo>
                  <a:lnTo>
                    <a:pt x="182" y="18"/>
                  </a:lnTo>
                  <a:lnTo>
                    <a:pt x="182" y="15"/>
                  </a:lnTo>
                  <a:lnTo>
                    <a:pt x="182" y="13"/>
                  </a:lnTo>
                  <a:lnTo>
                    <a:pt x="181" y="10"/>
                  </a:lnTo>
                  <a:lnTo>
                    <a:pt x="180" y="7"/>
                  </a:lnTo>
                  <a:lnTo>
                    <a:pt x="178" y="5"/>
                  </a:lnTo>
                  <a:lnTo>
                    <a:pt x="176" y="3"/>
                  </a:lnTo>
                  <a:lnTo>
                    <a:pt x="173" y="1"/>
                  </a:lnTo>
                  <a:lnTo>
                    <a:pt x="171" y="1"/>
                  </a:lnTo>
                  <a:lnTo>
                    <a:pt x="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184">
              <a:extLst>
                <a:ext uri="{FF2B5EF4-FFF2-40B4-BE49-F238E27FC236}">
                  <a16:creationId xmlns:a16="http://schemas.microsoft.com/office/drawing/2014/main" id="{74AD6DF0-E832-4776-B855-368878BB6D59}"/>
                </a:ext>
              </a:extLst>
            </p:cNvPr>
            <p:cNvSpPr>
              <a:spLocks/>
            </p:cNvSpPr>
            <p:nvPr/>
          </p:nvSpPr>
          <p:spPr bwMode="auto">
            <a:xfrm>
              <a:off x="11109325" y="1450976"/>
              <a:ext cx="57150" cy="39688"/>
            </a:xfrm>
            <a:custGeom>
              <a:avLst/>
              <a:gdLst>
                <a:gd name="T0" fmla="*/ 156 w 181"/>
                <a:gd name="T1" fmla="*/ 4 h 126"/>
                <a:gd name="T2" fmla="*/ 71 w 181"/>
                <a:gd name="T3" fmla="*/ 88 h 126"/>
                <a:gd name="T4" fmla="*/ 25 w 181"/>
                <a:gd name="T5" fmla="*/ 43 h 126"/>
                <a:gd name="T6" fmla="*/ 23 w 181"/>
                <a:gd name="T7" fmla="*/ 41 h 126"/>
                <a:gd name="T8" fmla="*/ 20 w 181"/>
                <a:gd name="T9" fmla="*/ 39 h 126"/>
                <a:gd name="T10" fmla="*/ 18 w 181"/>
                <a:gd name="T11" fmla="*/ 39 h 126"/>
                <a:gd name="T12" fmla="*/ 15 w 181"/>
                <a:gd name="T13" fmla="*/ 38 h 126"/>
                <a:gd name="T14" fmla="*/ 11 w 181"/>
                <a:gd name="T15" fmla="*/ 39 h 126"/>
                <a:gd name="T16" fmla="*/ 9 w 181"/>
                <a:gd name="T17" fmla="*/ 39 h 126"/>
                <a:gd name="T18" fmla="*/ 6 w 181"/>
                <a:gd name="T19" fmla="*/ 41 h 126"/>
                <a:gd name="T20" fmla="*/ 4 w 181"/>
                <a:gd name="T21" fmla="*/ 43 h 126"/>
                <a:gd name="T22" fmla="*/ 2 w 181"/>
                <a:gd name="T23" fmla="*/ 45 h 126"/>
                <a:gd name="T24" fmla="*/ 1 w 181"/>
                <a:gd name="T25" fmla="*/ 47 h 126"/>
                <a:gd name="T26" fmla="*/ 0 w 181"/>
                <a:gd name="T27" fmla="*/ 51 h 126"/>
                <a:gd name="T28" fmla="*/ 0 w 181"/>
                <a:gd name="T29" fmla="*/ 53 h 126"/>
                <a:gd name="T30" fmla="*/ 0 w 181"/>
                <a:gd name="T31" fmla="*/ 56 h 126"/>
                <a:gd name="T32" fmla="*/ 1 w 181"/>
                <a:gd name="T33" fmla="*/ 59 h 126"/>
                <a:gd name="T34" fmla="*/ 2 w 181"/>
                <a:gd name="T35" fmla="*/ 61 h 126"/>
                <a:gd name="T36" fmla="*/ 4 w 181"/>
                <a:gd name="T37" fmla="*/ 63 h 126"/>
                <a:gd name="T38" fmla="*/ 61 w 181"/>
                <a:gd name="T39" fmla="*/ 121 h 126"/>
                <a:gd name="T40" fmla="*/ 63 w 181"/>
                <a:gd name="T41" fmla="*/ 122 h 126"/>
                <a:gd name="T42" fmla="*/ 66 w 181"/>
                <a:gd name="T43" fmla="*/ 124 h 126"/>
                <a:gd name="T44" fmla="*/ 68 w 181"/>
                <a:gd name="T45" fmla="*/ 126 h 126"/>
                <a:gd name="T46" fmla="*/ 71 w 181"/>
                <a:gd name="T47" fmla="*/ 126 h 126"/>
                <a:gd name="T48" fmla="*/ 74 w 181"/>
                <a:gd name="T49" fmla="*/ 126 h 126"/>
                <a:gd name="T50" fmla="*/ 77 w 181"/>
                <a:gd name="T51" fmla="*/ 124 h 126"/>
                <a:gd name="T52" fmla="*/ 80 w 181"/>
                <a:gd name="T53" fmla="*/ 122 h 126"/>
                <a:gd name="T54" fmla="*/ 82 w 181"/>
                <a:gd name="T55" fmla="*/ 121 h 126"/>
                <a:gd name="T56" fmla="*/ 176 w 181"/>
                <a:gd name="T57" fmla="*/ 26 h 126"/>
                <a:gd name="T58" fmla="*/ 178 w 181"/>
                <a:gd name="T59" fmla="*/ 24 h 126"/>
                <a:gd name="T60" fmla="*/ 180 w 181"/>
                <a:gd name="T61" fmla="*/ 21 h 126"/>
                <a:gd name="T62" fmla="*/ 180 w 181"/>
                <a:gd name="T63" fmla="*/ 17 h 126"/>
                <a:gd name="T64" fmla="*/ 181 w 181"/>
                <a:gd name="T65" fmla="*/ 15 h 126"/>
                <a:gd name="T66" fmla="*/ 180 w 181"/>
                <a:gd name="T67" fmla="*/ 12 h 126"/>
                <a:gd name="T68" fmla="*/ 180 w 181"/>
                <a:gd name="T69" fmla="*/ 9 h 126"/>
                <a:gd name="T70" fmla="*/ 178 w 181"/>
                <a:gd name="T71" fmla="*/ 6 h 126"/>
                <a:gd name="T72" fmla="*/ 176 w 181"/>
                <a:gd name="T73" fmla="*/ 4 h 126"/>
                <a:gd name="T74" fmla="*/ 172 w 181"/>
                <a:gd name="T75" fmla="*/ 1 h 126"/>
                <a:gd name="T76" fmla="*/ 166 w 181"/>
                <a:gd name="T77" fmla="*/ 0 h 126"/>
                <a:gd name="T78" fmla="*/ 160 w 181"/>
                <a:gd name="T79" fmla="*/ 1 h 126"/>
                <a:gd name="T80" fmla="*/ 156 w 181"/>
                <a:gd name="T81" fmla="*/ 4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1" h="126">
                  <a:moveTo>
                    <a:pt x="156" y="4"/>
                  </a:moveTo>
                  <a:lnTo>
                    <a:pt x="71" y="88"/>
                  </a:lnTo>
                  <a:lnTo>
                    <a:pt x="25" y="43"/>
                  </a:lnTo>
                  <a:lnTo>
                    <a:pt x="23" y="41"/>
                  </a:lnTo>
                  <a:lnTo>
                    <a:pt x="20" y="39"/>
                  </a:lnTo>
                  <a:lnTo>
                    <a:pt x="18" y="39"/>
                  </a:lnTo>
                  <a:lnTo>
                    <a:pt x="15" y="38"/>
                  </a:lnTo>
                  <a:lnTo>
                    <a:pt x="11" y="39"/>
                  </a:lnTo>
                  <a:lnTo>
                    <a:pt x="9" y="39"/>
                  </a:lnTo>
                  <a:lnTo>
                    <a:pt x="6" y="41"/>
                  </a:lnTo>
                  <a:lnTo>
                    <a:pt x="4" y="43"/>
                  </a:lnTo>
                  <a:lnTo>
                    <a:pt x="2" y="45"/>
                  </a:lnTo>
                  <a:lnTo>
                    <a:pt x="1" y="47"/>
                  </a:lnTo>
                  <a:lnTo>
                    <a:pt x="0" y="51"/>
                  </a:lnTo>
                  <a:lnTo>
                    <a:pt x="0" y="53"/>
                  </a:lnTo>
                  <a:lnTo>
                    <a:pt x="0" y="56"/>
                  </a:lnTo>
                  <a:lnTo>
                    <a:pt x="1" y="59"/>
                  </a:lnTo>
                  <a:lnTo>
                    <a:pt x="2" y="61"/>
                  </a:lnTo>
                  <a:lnTo>
                    <a:pt x="4" y="63"/>
                  </a:lnTo>
                  <a:lnTo>
                    <a:pt x="61" y="121"/>
                  </a:lnTo>
                  <a:lnTo>
                    <a:pt x="63" y="122"/>
                  </a:lnTo>
                  <a:lnTo>
                    <a:pt x="66" y="124"/>
                  </a:lnTo>
                  <a:lnTo>
                    <a:pt x="68" y="126"/>
                  </a:lnTo>
                  <a:lnTo>
                    <a:pt x="71" y="126"/>
                  </a:lnTo>
                  <a:lnTo>
                    <a:pt x="74" y="126"/>
                  </a:lnTo>
                  <a:lnTo>
                    <a:pt x="77" y="124"/>
                  </a:lnTo>
                  <a:lnTo>
                    <a:pt x="80" y="122"/>
                  </a:lnTo>
                  <a:lnTo>
                    <a:pt x="82" y="121"/>
                  </a:lnTo>
                  <a:lnTo>
                    <a:pt x="176" y="26"/>
                  </a:lnTo>
                  <a:lnTo>
                    <a:pt x="178" y="24"/>
                  </a:lnTo>
                  <a:lnTo>
                    <a:pt x="180" y="21"/>
                  </a:lnTo>
                  <a:lnTo>
                    <a:pt x="180" y="17"/>
                  </a:lnTo>
                  <a:lnTo>
                    <a:pt x="181" y="15"/>
                  </a:lnTo>
                  <a:lnTo>
                    <a:pt x="180" y="12"/>
                  </a:lnTo>
                  <a:lnTo>
                    <a:pt x="180" y="9"/>
                  </a:lnTo>
                  <a:lnTo>
                    <a:pt x="178" y="6"/>
                  </a:lnTo>
                  <a:lnTo>
                    <a:pt x="176" y="4"/>
                  </a:lnTo>
                  <a:lnTo>
                    <a:pt x="172" y="1"/>
                  </a:lnTo>
                  <a:lnTo>
                    <a:pt x="166" y="0"/>
                  </a:lnTo>
                  <a:lnTo>
                    <a:pt x="160" y="1"/>
                  </a:lnTo>
                  <a:lnTo>
                    <a:pt x="15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185">
              <a:extLst>
                <a:ext uri="{FF2B5EF4-FFF2-40B4-BE49-F238E27FC236}">
                  <a16:creationId xmlns:a16="http://schemas.microsoft.com/office/drawing/2014/main" id="{BDC5D1A9-F5F0-49D8-A3E5-358FF393CB1A}"/>
                </a:ext>
              </a:extLst>
            </p:cNvPr>
            <p:cNvSpPr>
              <a:spLocks/>
            </p:cNvSpPr>
            <p:nvPr/>
          </p:nvSpPr>
          <p:spPr bwMode="auto">
            <a:xfrm>
              <a:off x="11109325" y="1504951"/>
              <a:ext cx="57150" cy="39688"/>
            </a:xfrm>
            <a:custGeom>
              <a:avLst/>
              <a:gdLst>
                <a:gd name="T0" fmla="*/ 156 w 181"/>
                <a:gd name="T1" fmla="*/ 4 h 124"/>
                <a:gd name="T2" fmla="*/ 71 w 181"/>
                <a:gd name="T3" fmla="*/ 88 h 124"/>
                <a:gd name="T4" fmla="*/ 25 w 181"/>
                <a:gd name="T5" fmla="*/ 41 h 124"/>
                <a:gd name="T6" fmla="*/ 23 w 181"/>
                <a:gd name="T7" fmla="*/ 39 h 124"/>
                <a:gd name="T8" fmla="*/ 20 w 181"/>
                <a:gd name="T9" fmla="*/ 38 h 124"/>
                <a:gd name="T10" fmla="*/ 18 w 181"/>
                <a:gd name="T11" fmla="*/ 37 h 124"/>
                <a:gd name="T12" fmla="*/ 15 w 181"/>
                <a:gd name="T13" fmla="*/ 37 h 124"/>
                <a:gd name="T14" fmla="*/ 11 w 181"/>
                <a:gd name="T15" fmla="*/ 37 h 124"/>
                <a:gd name="T16" fmla="*/ 9 w 181"/>
                <a:gd name="T17" fmla="*/ 38 h 124"/>
                <a:gd name="T18" fmla="*/ 6 w 181"/>
                <a:gd name="T19" fmla="*/ 39 h 124"/>
                <a:gd name="T20" fmla="*/ 4 w 181"/>
                <a:gd name="T21" fmla="*/ 41 h 124"/>
                <a:gd name="T22" fmla="*/ 2 w 181"/>
                <a:gd name="T23" fmla="*/ 43 h 124"/>
                <a:gd name="T24" fmla="*/ 1 w 181"/>
                <a:gd name="T25" fmla="*/ 47 h 124"/>
                <a:gd name="T26" fmla="*/ 0 w 181"/>
                <a:gd name="T27" fmla="*/ 49 h 124"/>
                <a:gd name="T28" fmla="*/ 0 w 181"/>
                <a:gd name="T29" fmla="*/ 52 h 124"/>
                <a:gd name="T30" fmla="*/ 0 w 181"/>
                <a:gd name="T31" fmla="*/ 55 h 124"/>
                <a:gd name="T32" fmla="*/ 1 w 181"/>
                <a:gd name="T33" fmla="*/ 57 h 124"/>
                <a:gd name="T34" fmla="*/ 2 w 181"/>
                <a:gd name="T35" fmla="*/ 61 h 124"/>
                <a:gd name="T36" fmla="*/ 4 w 181"/>
                <a:gd name="T37" fmla="*/ 63 h 124"/>
                <a:gd name="T38" fmla="*/ 61 w 181"/>
                <a:gd name="T39" fmla="*/ 119 h 124"/>
                <a:gd name="T40" fmla="*/ 63 w 181"/>
                <a:gd name="T41" fmla="*/ 122 h 124"/>
                <a:gd name="T42" fmla="*/ 66 w 181"/>
                <a:gd name="T43" fmla="*/ 123 h 124"/>
                <a:gd name="T44" fmla="*/ 68 w 181"/>
                <a:gd name="T45" fmla="*/ 124 h 124"/>
                <a:gd name="T46" fmla="*/ 71 w 181"/>
                <a:gd name="T47" fmla="*/ 124 h 124"/>
                <a:gd name="T48" fmla="*/ 74 w 181"/>
                <a:gd name="T49" fmla="*/ 124 h 124"/>
                <a:gd name="T50" fmla="*/ 77 w 181"/>
                <a:gd name="T51" fmla="*/ 123 h 124"/>
                <a:gd name="T52" fmla="*/ 80 w 181"/>
                <a:gd name="T53" fmla="*/ 122 h 124"/>
                <a:gd name="T54" fmla="*/ 82 w 181"/>
                <a:gd name="T55" fmla="*/ 119 h 124"/>
                <a:gd name="T56" fmla="*/ 176 w 181"/>
                <a:gd name="T57" fmla="*/ 25 h 124"/>
                <a:gd name="T58" fmla="*/ 178 w 181"/>
                <a:gd name="T59" fmla="*/ 23 h 124"/>
                <a:gd name="T60" fmla="*/ 180 w 181"/>
                <a:gd name="T61" fmla="*/ 20 h 124"/>
                <a:gd name="T62" fmla="*/ 180 w 181"/>
                <a:gd name="T63" fmla="*/ 18 h 124"/>
                <a:gd name="T64" fmla="*/ 181 w 181"/>
                <a:gd name="T65" fmla="*/ 14 h 124"/>
                <a:gd name="T66" fmla="*/ 180 w 181"/>
                <a:gd name="T67" fmla="*/ 11 h 124"/>
                <a:gd name="T68" fmla="*/ 180 w 181"/>
                <a:gd name="T69" fmla="*/ 9 h 124"/>
                <a:gd name="T70" fmla="*/ 178 w 181"/>
                <a:gd name="T71" fmla="*/ 6 h 124"/>
                <a:gd name="T72" fmla="*/ 176 w 181"/>
                <a:gd name="T73" fmla="*/ 4 h 124"/>
                <a:gd name="T74" fmla="*/ 174 w 181"/>
                <a:gd name="T75" fmla="*/ 2 h 124"/>
                <a:gd name="T76" fmla="*/ 172 w 181"/>
                <a:gd name="T77" fmla="*/ 1 h 124"/>
                <a:gd name="T78" fmla="*/ 169 w 181"/>
                <a:gd name="T79" fmla="*/ 0 h 124"/>
                <a:gd name="T80" fmla="*/ 166 w 181"/>
                <a:gd name="T81" fmla="*/ 0 h 124"/>
                <a:gd name="T82" fmla="*/ 163 w 181"/>
                <a:gd name="T83" fmla="*/ 0 h 124"/>
                <a:gd name="T84" fmla="*/ 160 w 181"/>
                <a:gd name="T85" fmla="*/ 1 h 124"/>
                <a:gd name="T86" fmla="*/ 158 w 181"/>
                <a:gd name="T87" fmla="*/ 2 h 124"/>
                <a:gd name="T88" fmla="*/ 156 w 181"/>
                <a:gd name="T89" fmla="*/ 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1" h="124">
                  <a:moveTo>
                    <a:pt x="156" y="4"/>
                  </a:moveTo>
                  <a:lnTo>
                    <a:pt x="71" y="88"/>
                  </a:lnTo>
                  <a:lnTo>
                    <a:pt x="25" y="41"/>
                  </a:lnTo>
                  <a:lnTo>
                    <a:pt x="23" y="39"/>
                  </a:lnTo>
                  <a:lnTo>
                    <a:pt x="20" y="38"/>
                  </a:lnTo>
                  <a:lnTo>
                    <a:pt x="18" y="37"/>
                  </a:lnTo>
                  <a:lnTo>
                    <a:pt x="15" y="37"/>
                  </a:lnTo>
                  <a:lnTo>
                    <a:pt x="11" y="37"/>
                  </a:lnTo>
                  <a:lnTo>
                    <a:pt x="9" y="38"/>
                  </a:lnTo>
                  <a:lnTo>
                    <a:pt x="6" y="39"/>
                  </a:lnTo>
                  <a:lnTo>
                    <a:pt x="4" y="41"/>
                  </a:lnTo>
                  <a:lnTo>
                    <a:pt x="2" y="43"/>
                  </a:lnTo>
                  <a:lnTo>
                    <a:pt x="1" y="47"/>
                  </a:lnTo>
                  <a:lnTo>
                    <a:pt x="0" y="49"/>
                  </a:lnTo>
                  <a:lnTo>
                    <a:pt x="0" y="52"/>
                  </a:lnTo>
                  <a:lnTo>
                    <a:pt x="0" y="55"/>
                  </a:lnTo>
                  <a:lnTo>
                    <a:pt x="1" y="57"/>
                  </a:lnTo>
                  <a:lnTo>
                    <a:pt x="2" y="61"/>
                  </a:lnTo>
                  <a:lnTo>
                    <a:pt x="4" y="63"/>
                  </a:lnTo>
                  <a:lnTo>
                    <a:pt x="61" y="119"/>
                  </a:lnTo>
                  <a:lnTo>
                    <a:pt x="63" y="122"/>
                  </a:lnTo>
                  <a:lnTo>
                    <a:pt x="66" y="123"/>
                  </a:lnTo>
                  <a:lnTo>
                    <a:pt x="68" y="124"/>
                  </a:lnTo>
                  <a:lnTo>
                    <a:pt x="71" y="124"/>
                  </a:lnTo>
                  <a:lnTo>
                    <a:pt x="74" y="124"/>
                  </a:lnTo>
                  <a:lnTo>
                    <a:pt x="77" y="123"/>
                  </a:lnTo>
                  <a:lnTo>
                    <a:pt x="80" y="122"/>
                  </a:lnTo>
                  <a:lnTo>
                    <a:pt x="82" y="119"/>
                  </a:lnTo>
                  <a:lnTo>
                    <a:pt x="176" y="25"/>
                  </a:lnTo>
                  <a:lnTo>
                    <a:pt x="178" y="23"/>
                  </a:lnTo>
                  <a:lnTo>
                    <a:pt x="180" y="20"/>
                  </a:lnTo>
                  <a:lnTo>
                    <a:pt x="180" y="18"/>
                  </a:lnTo>
                  <a:lnTo>
                    <a:pt x="181" y="14"/>
                  </a:lnTo>
                  <a:lnTo>
                    <a:pt x="180" y="11"/>
                  </a:lnTo>
                  <a:lnTo>
                    <a:pt x="180" y="9"/>
                  </a:lnTo>
                  <a:lnTo>
                    <a:pt x="178" y="6"/>
                  </a:lnTo>
                  <a:lnTo>
                    <a:pt x="176" y="4"/>
                  </a:lnTo>
                  <a:lnTo>
                    <a:pt x="174" y="2"/>
                  </a:lnTo>
                  <a:lnTo>
                    <a:pt x="172" y="1"/>
                  </a:lnTo>
                  <a:lnTo>
                    <a:pt x="169" y="0"/>
                  </a:lnTo>
                  <a:lnTo>
                    <a:pt x="166" y="0"/>
                  </a:lnTo>
                  <a:lnTo>
                    <a:pt x="163" y="0"/>
                  </a:lnTo>
                  <a:lnTo>
                    <a:pt x="160" y="1"/>
                  </a:lnTo>
                  <a:lnTo>
                    <a:pt x="158" y="2"/>
                  </a:lnTo>
                  <a:lnTo>
                    <a:pt x="15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186">
              <a:extLst>
                <a:ext uri="{FF2B5EF4-FFF2-40B4-BE49-F238E27FC236}">
                  <a16:creationId xmlns:a16="http://schemas.microsoft.com/office/drawing/2014/main" id="{278B32CE-AB18-449A-BF1F-7A8DEFF06693}"/>
                </a:ext>
              </a:extLst>
            </p:cNvPr>
            <p:cNvSpPr>
              <a:spLocks/>
            </p:cNvSpPr>
            <p:nvPr/>
          </p:nvSpPr>
          <p:spPr bwMode="auto">
            <a:xfrm>
              <a:off x="11109325" y="1558926"/>
              <a:ext cx="57150" cy="39688"/>
            </a:xfrm>
            <a:custGeom>
              <a:avLst/>
              <a:gdLst>
                <a:gd name="T0" fmla="*/ 156 w 181"/>
                <a:gd name="T1" fmla="*/ 5 h 126"/>
                <a:gd name="T2" fmla="*/ 71 w 181"/>
                <a:gd name="T3" fmla="*/ 88 h 126"/>
                <a:gd name="T4" fmla="*/ 25 w 181"/>
                <a:gd name="T5" fmla="*/ 43 h 126"/>
                <a:gd name="T6" fmla="*/ 23 w 181"/>
                <a:gd name="T7" fmla="*/ 41 h 126"/>
                <a:gd name="T8" fmla="*/ 20 w 181"/>
                <a:gd name="T9" fmla="*/ 40 h 126"/>
                <a:gd name="T10" fmla="*/ 18 w 181"/>
                <a:gd name="T11" fmla="*/ 39 h 126"/>
                <a:gd name="T12" fmla="*/ 15 w 181"/>
                <a:gd name="T13" fmla="*/ 39 h 126"/>
                <a:gd name="T14" fmla="*/ 11 w 181"/>
                <a:gd name="T15" fmla="*/ 39 h 126"/>
                <a:gd name="T16" fmla="*/ 9 w 181"/>
                <a:gd name="T17" fmla="*/ 40 h 126"/>
                <a:gd name="T18" fmla="*/ 6 w 181"/>
                <a:gd name="T19" fmla="*/ 41 h 126"/>
                <a:gd name="T20" fmla="*/ 4 w 181"/>
                <a:gd name="T21" fmla="*/ 43 h 126"/>
                <a:gd name="T22" fmla="*/ 2 w 181"/>
                <a:gd name="T23" fmla="*/ 46 h 126"/>
                <a:gd name="T24" fmla="*/ 1 w 181"/>
                <a:gd name="T25" fmla="*/ 49 h 126"/>
                <a:gd name="T26" fmla="*/ 0 w 181"/>
                <a:gd name="T27" fmla="*/ 51 h 126"/>
                <a:gd name="T28" fmla="*/ 0 w 181"/>
                <a:gd name="T29" fmla="*/ 54 h 126"/>
                <a:gd name="T30" fmla="*/ 0 w 181"/>
                <a:gd name="T31" fmla="*/ 57 h 126"/>
                <a:gd name="T32" fmla="*/ 1 w 181"/>
                <a:gd name="T33" fmla="*/ 60 h 126"/>
                <a:gd name="T34" fmla="*/ 2 w 181"/>
                <a:gd name="T35" fmla="*/ 63 h 126"/>
                <a:gd name="T36" fmla="*/ 4 w 181"/>
                <a:gd name="T37" fmla="*/ 65 h 126"/>
                <a:gd name="T38" fmla="*/ 61 w 181"/>
                <a:gd name="T39" fmla="*/ 122 h 126"/>
                <a:gd name="T40" fmla="*/ 63 w 181"/>
                <a:gd name="T41" fmla="*/ 124 h 126"/>
                <a:gd name="T42" fmla="*/ 66 w 181"/>
                <a:gd name="T43" fmla="*/ 125 h 126"/>
                <a:gd name="T44" fmla="*/ 68 w 181"/>
                <a:gd name="T45" fmla="*/ 126 h 126"/>
                <a:gd name="T46" fmla="*/ 71 w 181"/>
                <a:gd name="T47" fmla="*/ 126 h 126"/>
                <a:gd name="T48" fmla="*/ 74 w 181"/>
                <a:gd name="T49" fmla="*/ 126 h 126"/>
                <a:gd name="T50" fmla="*/ 77 w 181"/>
                <a:gd name="T51" fmla="*/ 125 h 126"/>
                <a:gd name="T52" fmla="*/ 80 w 181"/>
                <a:gd name="T53" fmla="*/ 124 h 126"/>
                <a:gd name="T54" fmla="*/ 82 w 181"/>
                <a:gd name="T55" fmla="*/ 122 h 126"/>
                <a:gd name="T56" fmla="*/ 176 w 181"/>
                <a:gd name="T57" fmla="*/ 27 h 126"/>
                <a:gd name="T58" fmla="*/ 178 w 181"/>
                <a:gd name="T59" fmla="*/ 24 h 126"/>
                <a:gd name="T60" fmla="*/ 180 w 181"/>
                <a:gd name="T61" fmla="*/ 22 h 126"/>
                <a:gd name="T62" fmla="*/ 180 w 181"/>
                <a:gd name="T63" fmla="*/ 19 h 126"/>
                <a:gd name="T64" fmla="*/ 181 w 181"/>
                <a:gd name="T65" fmla="*/ 16 h 126"/>
                <a:gd name="T66" fmla="*/ 180 w 181"/>
                <a:gd name="T67" fmla="*/ 12 h 126"/>
                <a:gd name="T68" fmla="*/ 180 w 181"/>
                <a:gd name="T69" fmla="*/ 10 h 126"/>
                <a:gd name="T70" fmla="*/ 178 w 181"/>
                <a:gd name="T71" fmla="*/ 7 h 126"/>
                <a:gd name="T72" fmla="*/ 176 w 181"/>
                <a:gd name="T73" fmla="*/ 5 h 126"/>
                <a:gd name="T74" fmla="*/ 174 w 181"/>
                <a:gd name="T75" fmla="*/ 3 h 126"/>
                <a:gd name="T76" fmla="*/ 172 w 181"/>
                <a:gd name="T77" fmla="*/ 2 h 126"/>
                <a:gd name="T78" fmla="*/ 169 w 181"/>
                <a:gd name="T79" fmla="*/ 1 h 126"/>
                <a:gd name="T80" fmla="*/ 166 w 181"/>
                <a:gd name="T81" fmla="*/ 0 h 126"/>
                <a:gd name="T82" fmla="*/ 163 w 181"/>
                <a:gd name="T83" fmla="*/ 1 h 126"/>
                <a:gd name="T84" fmla="*/ 160 w 181"/>
                <a:gd name="T85" fmla="*/ 2 h 126"/>
                <a:gd name="T86" fmla="*/ 158 w 181"/>
                <a:gd name="T87" fmla="*/ 3 h 126"/>
                <a:gd name="T88" fmla="*/ 156 w 181"/>
                <a:gd name="T89" fmla="*/ 5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1" h="126">
                  <a:moveTo>
                    <a:pt x="156" y="5"/>
                  </a:moveTo>
                  <a:lnTo>
                    <a:pt x="71" y="88"/>
                  </a:lnTo>
                  <a:lnTo>
                    <a:pt x="25" y="43"/>
                  </a:lnTo>
                  <a:lnTo>
                    <a:pt x="23" y="41"/>
                  </a:lnTo>
                  <a:lnTo>
                    <a:pt x="20" y="40"/>
                  </a:lnTo>
                  <a:lnTo>
                    <a:pt x="18" y="39"/>
                  </a:lnTo>
                  <a:lnTo>
                    <a:pt x="15" y="39"/>
                  </a:lnTo>
                  <a:lnTo>
                    <a:pt x="11" y="39"/>
                  </a:lnTo>
                  <a:lnTo>
                    <a:pt x="9" y="40"/>
                  </a:lnTo>
                  <a:lnTo>
                    <a:pt x="6" y="41"/>
                  </a:lnTo>
                  <a:lnTo>
                    <a:pt x="4" y="43"/>
                  </a:lnTo>
                  <a:lnTo>
                    <a:pt x="2" y="46"/>
                  </a:lnTo>
                  <a:lnTo>
                    <a:pt x="1" y="49"/>
                  </a:lnTo>
                  <a:lnTo>
                    <a:pt x="0" y="51"/>
                  </a:lnTo>
                  <a:lnTo>
                    <a:pt x="0" y="54"/>
                  </a:lnTo>
                  <a:lnTo>
                    <a:pt x="0" y="57"/>
                  </a:lnTo>
                  <a:lnTo>
                    <a:pt x="1" y="60"/>
                  </a:lnTo>
                  <a:lnTo>
                    <a:pt x="2" y="63"/>
                  </a:lnTo>
                  <a:lnTo>
                    <a:pt x="4" y="65"/>
                  </a:lnTo>
                  <a:lnTo>
                    <a:pt x="61" y="122"/>
                  </a:lnTo>
                  <a:lnTo>
                    <a:pt x="63" y="124"/>
                  </a:lnTo>
                  <a:lnTo>
                    <a:pt x="66" y="125"/>
                  </a:lnTo>
                  <a:lnTo>
                    <a:pt x="68" y="126"/>
                  </a:lnTo>
                  <a:lnTo>
                    <a:pt x="71" y="126"/>
                  </a:lnTo>
                  <a:lnTo>
                    <a:pt x="74" y="126"/>
                  </a:lnTo>
                  <a:lnTo>
                    <a:pt x="77" y="125"/>
                  </a:lnTo>
                  <a:lnTo>
                    <a:pt x="80" y="124"/>
                  </a:lnTo>
                  <a:lnTo>
                    <a:pt x="82" y="122"/>
                  </a:lnTo>
                  <a:lnTo>
                    <a:pt x="176" y="27"/>
                  </a:lnTo>
                  <a:lnTo>
                    <a:pt x="178" y="24"/>
                  </a:lnTo>
                  <a:lnTo>
                    <a:pt x="180" y="22"/>
                  </a:lnTo>
                  <a:lnTo>
                    <a:pt x="180" y="19"/>
                  </a:lnTo>
                  <a:lnTo>
                    <a:pt x="181" y="16"/>
                  </a:lnTo>
                  <a:lnTo>
                    <a:pt x="180" y="12"/>
                  </a:lnTo>
                  <a:lnTo>
                    <a:pt x="180" y="10"/>
                  </a:lnTo>
                  <a:lnTo>
                    <a:pt x="178" y="7"/>
                  </a:lnTo>
                  <a:lnTo>
                    <a:pt x="176" y="5"/>
                  </a:lnTo>
                  <a:lnTo>
                    <a:pt x="174" y="3"/>
                  </a:lnTo>
                  <a:lnTo>
                    <a:pt x="172" y="2"/>
                  </a:lnTo>
                  <a:lnTo>
                    <a:pt x="169" y="1"/>
                  </a:lnTo>
                  <a:lnTo>
                    <a:pt x="166" y="0"/>
                  </a:lnTo>
                  <a:lnTo>
                    <a:pt x="163" y="1"/>
                  </a:lnTo>
                  <a:lnTo>
                    <a:pt x="160" y="2"/>
                  </a:lnTo>
                  <a:lnTo>
                    <a:pt x="158" y="3"/>
                  </a:lnTo>
                  <a:lnTo>
                    <a:pt x="15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7" name="Group 76">
            <a:extLst>
              <a:ext uri="{FF2B5EF4-FFF2-40B4-BE49-F238E27FC236}">
                <a16:creationId xmlns:a16="http://schemas.microsoft.com/office/drawing/2014/main" id="{BA6DD7A6-F15A-46F6-AE14-412C909EB457}"/>
              </a:ext>
            </a:extLst>
          </p:cNvPr>
          <p:cNvGrpSpPr/>
          <p:nvPr/>
        </p:nvGrpSpPr>
        <p:grpSpPr>
          <a:xfrm>
            <a:off x="702543" y="2935579"/>
            <a:ext cx="238126" cy="285750"/>
            <a:chOff x="6489700" y="1933576"/>
            <a:chExt cx="238126" cy="285750"/>
          </a:xfrm>
          <a:solidFill>
            <a:schemeClr val="bg1"/>
          </a:solidFill>
          <a:effectLst>
            <a:outerShdw blurRad="50800" dist="38100" dir="5400000" algn="t" rotWithShape="0">
              <a:prstClr val="black">
                <a:alpha val="20000"/>
              </a:prstClr>
            </a:outerShdw>
          </a:effectLst>
        </p:grpSpPr>
        <p:sp>
          <p:nvSpPr>
            <p:cNvPr id="78" name="Freeform 304">
              <a:extLst>
                <a:ext uri="{FF2B5EF4-FFF2-40B4-BE49-F238E27FC236}">
                  <a16:creationId xmlns:a16="http://schemas.microsoft.com/office/drawing/2014/main" id="{20E3EC75-9369-481C-8948-324C6D148934}"/>
                </a:ext>
              </a:extLst>
            </p:cNvPr>
            <p:cNvSpPr>
              <a:spLocks noEditPoints="1"/>
            </p:cNvSpPr>
            <p:nvPr/>
          </p:nvSpPr>
          <p:spPr bwMode="auto">
            <a:xfrm>
              <a:off x="6489700" y="1933576"/>
              <a:ext cx="200025" cy="257175"/>
            </a:xfrm>
            <a:custGeom>
              <a:avLst/>
              <a:gdLst>
                <a:gd name="T0" fmla="*/ 580 w 631"/>
                <a:gd name="T1" fmla="*/ 180 h 811"/>
                <a:gd name="T2" fmla="*/ 450 w 631"/>
                <a:gd name="T3" fmla="*/ 52 h 811"/>
                <a:gd name="T4" fmla="*/ 30 w 631"/>
                <a:gd name="T5" fmla="*/ 781 h 811"/>
                <a:gd name="T6" fmla="*/ 420 w 631"/>
                <a:gd name="T7" fmla="*/ 30 h 811"/>
                <a:gd name="T8" fmla="*/ 421 w 631"/>
                <a:gd name="T9" fmla="*/ 198 h 811"/>
                <a:gd name="T10" fmla="*/ 424 w 631"/>
                <a:gd name="T11" fmla="*/ 203 h 811"/>
                <a:gd name="T12" fmla="*/ 427 w 631"/>
                <a:gd name="T13" fmla="*/ 208 h 811"/>
                <a:gd name="T14" fmla="*/ 432 w 631"/>
                <a:gd name="T15" fmla="*/ 210 h 811"/>
                <a:gd name="T16" fmla="*/ 601 w 631"/>
                <a:gd name="T17" fmla="*/ 210 h 811"/>
                <a:gd name="T18" fmla="*/ 601 w 631"/>
                <a:gd name="T19" fmla="*/ 273 h 811"/>
                <a:gd name="T20" fmla="*/ 603 w 631"/>
                <a:gd name="T21" fmla="*/ 279 h 811"/>
                <a:gd name="T22" fmla="*/ 608 w 631"/>
                <a:gd name="T23" fmla="*/ 282 h 811"/>
                <a:gd name="T24" fmla="*/ 613 w 631"/>
                <a:gd name="T25" fmla="*/ 285 h 811"/>
                <a:gd name="T26" fmla="*/ 619 w 631"/>
                <a:gd name="T27" fmla="*/ 285 h 811"/>
                <a:gd name="T28" fmla="*/ 625 w 631"/>
                <a:gd name="T29" fmla="*/ 282 h 811"/>
                <a:gd name="T30" fmla="*/ 628 w 631"/>
                <a:gd name="T31" fmla="*/ 279 h 811"/>
                <a:gd name="T32" fmla="*/ 630 w 631"/>
                <a:gd name="T33" fmla="*/ 273 h 811"/>
                <a:gd name="T34" fmla="*/ 631 w 631"/>
                <a:gd name="T35" fmla="*/ 195 h 811"/>
                <a:gd name="T36" fmla="*/ 627 w 631"/>
                <a:gd name="T37" fmla="*/ 184 h 811"/>
                <a:gd name="T38" fmla="*/ 444 w 631"/>
                <a:gd name="T39" fmla="*/ 2 h 811"/>
                <a:gd name="T40" fmla="*/ 439 w 631"/>
                <a:gd name="T41" fmla="*/ 0 h 811"/>
                <a:gd name="T42" fmla="*/ 15 w 631"/>
                <a:gd name="T43" fmla="*/ 0 h 811"/>
                <a:gd name="T44" fmla="*/ 9 w 631"/>
                <a:gd name="T45" fmla="*/ 1 h 811"/>
                <a:gd name="T46" fmla="*/ 4 w 631"/>
                <a:gd name="T47" fmla="*/ 4 h 811"/>
                <a:gd name="T48" fmla="*/ 1 w 631"/>
                <a:gd name="T49" fmla="*/ 10 h 811"/>
                <a:gd name="T50" fmla="*/ 0 w 631"/>
                <a:gd name="T51" fmla="*/ 15 h 811"/>
                <a:gd name="T52" fmla="*/ 1 w 631"/>
                <a:gd name="T53" fmla="*/ 799 h 811"/>
                <a:gd name="T54" fmla="*/ 3 w 631"/>
                <a:gd name="T55" fmla="*/ 805 h 811"/>
                <a:gd name="T56" fmla="*/ 6 w 631"/>
                <a:gd name="T57" fmla="*/ 808 h 811"/>
                <a:gd name="T58" fmla="*/ 12 w 631"/>
                <a:gd name="T59" fmla="*/ 810 h 811"/>
                <a:gd name="T60" fmla="*/ 351 w 631"/>
                <a:gd name="T61" fmla="*/ 811 h 811"/>
                <a:gd name="T62" fmla="*/ 357 w 631"/>
                <a:gd name="T63" fmla="*/ 810 h 811"/>
                <a:gd name="T64" fmla="*/ 362 w 631"/>
                <a:gd name="T65" fmla="*/ 807 h 811"/>
                <a:gd name="T66" fmla="*/ 365 w 631"/>
                <a:gd name="T67" fmla="*/ 801 h 811"/>
                <a:gd name="T68" fmla="*/ 366 w 631"/>
                <a:gd name="T69" fmla="*/ 796 h 811"/>
                <a:gd name="T70" fmla="*/ 365 w 631"/>
                <a:gd name="T71" fmla="*/ 790 h 811"/>
                <a:gd name="T72" fmla="*/ 362 w 631"/>
                <a:gd name="T73" fmla="*/ 785 h 811"/>
                <a:gd name="T74" fmla="*/ 357 w 631"/>
                <a:gd name="T75" fmla="*/ 782 h 811"/>
                <a:gd name="T76" fmla="*/ 351 w 631"/>
                <a:gd name="T77" fmla="*/ 781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1" h="811">
                  <a:moveTo>
                    <a:pt x="450" y="52"/>
                  </a:moveTo>
                  <a:lnTo>
                    <a:pt x="580" y="180"/>
                  </a:lnTo>
                  <a:lnTo>
                    <a:pt x="450" y="180"/>
                  </a:lnTo>
                  <a:lnTo>
                    <a:pt x="450" y="52"/>
                  </a:lnTo>
                  <a:close/>
                  <a:moveTo>
                    <a:pt x="351" y="781"/>
                  </a:moveTo>
                  <a:lnTo>
                    <a:pt x="30" y="781"/>
                  </a:lnTo>
                  <a:lnTo>
                    <a:pt x="30" y="30"/>
                  </a:lnTo>
                  <a:lnTo>
                    <a:pt x="420" y="30"/>
                  </a:lnTo>
                  <a:lnTo>
                    <a:pt x="420" y="195"/>
                  </a:lnTo>
                  <a:lnTo>
                    <a:pt x="421" y="198"/>
                  </a:lnTo>
                  <a:lnTo>
                    <a:pt x="421" y="201"/>
                  </a:lnTo>
                  <a:lnTo>
                    <a:pt x="424" y="203"/>
                  </a:lnTo>
                  <a:lnTo>
                    <a:pt x="425" y="205"/>
                  </a:lnTo>
                  <a:lnTo>
                    <a:pt x="427" y="208"/>
                  </a:lnTo>
                  <a:lnTo>
                    <a:pt x="430" y="209"/>
                  </a:lnTo>
                  <a:lnTo>
                    <a:pt x="432" y="210"/>
                  </a:lnTo>
                  <a:lnTo>
                    <a:pt x="435" y="210"/>
                  </a:lnTo>
                  <a:lnTo>
                    <a:pt x="601" y="210"/>
                  </a:lnTo>
                  <a:lnTo>
                    <a:pt x="601" y="270"/>
                  </a:lnTo>
                  <a:lnTo>
                    <a:pt x="601" y="273"/>
                  </a:lnTo>
                  <a:lnTo>
                    <a:pt x="602" y="276"/>
                  </a:lnTo>
                  <a:lnTo>
                    <a:pt x="603" y="279"/>
                  </a:lnTo>
                  <a:lnTo>
                    <a:pt x="605" y="281"/>
                  </a:lnTo>
                  <a:lnTo>
                    <a:pt x="608" y="282"/>
                  </a:lnTo>
                  <a:lnTo>
                    <a:pt x="610" y="284"/>
                  </a:lnTo>
                  <a:lnTo>
                    <a:pt x="613" y="285"/>
                  </a:lnTo>
                  <a:lnTo>
                    <a:pt x="616" y="285"/>
                  </a:lnTo>
                  <a:lnTo>
                    <a:pt x="619" y="285"/>
                  </a:lnTo>
                  <a:lnTo>
                    <a:pt x="622" y="284"/>
                  </a:lnTo>
                  <a:lnTo>
                    <a:pt x="625" y="282"/>
                  </a:lnTo>
                  <a:lnTo>
                    <a:pt x="627" y="281"/>
                  </a:lnTo>
                  <a:lnTo>
                    <a:pt x="628" y="279"/>
                  </a:lnTo>
                  <a:lnTo>
                    <a:pt x="630" y="276"/>
                  </a:lnTo>
                  <a:lnTo>
                    <a:pt x="630" y="273"/>
                  </a:lnTo>
                  <a:lnTo>
                    <a:pt x="631" y="270"/>
                  </a:lnTo>
                  <a:lnTo>
                    <a:pt x="631" y="195"/>
                  </a:lnTo>
                  <a:lnTo>
                    <a:pt x="630" y="189"/>
                  </a:lnTo>
                  <a:lnTo>
                    <a:pt x="627" y="184"/>
                  </a:lnTo>
                  <a:lnTo>
                    <a:pt x="446" y="4"/>
                  </a:lnTo>
                  <a:lnTo>
                    <a:pt x="444" y="2"/>
                  </a:lnTo>
                  <a:lnTo>
                    <a:pt x="442" y="1"/>
                  </a:lnTo>
                  <a:lnTo>
                    <a:pt x="439" y="0"/>
                  </a:lnTo>
                  <a:lnTo>
                    <a:pt x="435" y="0"/>
                  </a:lnTo>
                  <a:lnTo>
                    <a:pt x="15" y="0"/>
                  </a:lnTo>
                  <a:lnTo>
                    <a:pt x="12" y="0"/>
                  </a:lnTo>
                  <a:lnTo>
                    <a:pt x="9" y="1"/>
                  </a:lnTo>
                  <a:lnTo>
                    <a:pt x="6" y="2"/>
                  </a:lnTo>
                  <a:lnTo>
                    <a:pt x="4" y="4"/>
                  </a:lnTo>
                  <a:lnTo>
                    <a:pt x="3" y="6"/>
                  </a:lnTo>
                  <a:lnTo>
                    <a:pt x="1" y="10"/>
                  </a:lnTo>
                  <a:lnTo>
                    <a:pt x="1" y="12"/>
                  </a:lnTo>
                  <a:lnTo>
                    <a:pt x="0" y="15"/>
                  </a:lnTo>
                  <a:lnTo>
                    <a:pt x="0" y="796"/>
                  </a:lnTo>
                  <a:lnTo>
                    <a:pt x="1" y="799"/>
                  </a:lnTo>
                  <a:lnTo>
                    <a:pt x="1" y="801"/>
                  </a:lnTo>
                  <a:lnTo>
                    <a:pt x="3" y="805"/>
                  </a:lnTo>
                  <a:lnTo>
                    <a:pt x="4" y="807"/>
                  </a:lnTo>
                  <a:lnTo>
                    <a:pt x="6" y="808"/>
                  </a:lnTo>
                  <a:lnTo>
                    <a:pt x="9" y="810"/>
                  </a:lnTo>
                  <a:lnTo>
                    <a:pt x="12" y="810"/>
                  </a:lnTo>
                  <a:lnTo>
                    <a:pt x="15" y="811"/>
                  </a:lnTo>
                  <a:lnTo>
                    <a:pt x="351" y="811"/>
                  </a:lnTo>
                  <a:lnTo>
                    <a:pt x="354" y="810"/>
                  </a:lnTo>
                  <a:lnTo>
                    <a:pt x="357" y="810"/>
                  </a:lnTo>
                  <a:lnTo>
                    <a:pt x="359" y="808"/>
                  </a:lnTo>
                  <a:lnTo>
                    <a:pt x="362" y="807"/>
                  </a:lnTo>
                  <a:lnTo>
                    <a:pt x="364" y="805"/>
                  </a:lnTo>
                  <a:lnTo>
                    <a:pt x="365" y="801"/>
                  </a:lnTo>
                  <a:lnTo>
                    <a:pt x="366" y="799"/>
                  </a:lnTo>
                  <a:lnTo>
                    <a:pt x="366" y="796"/>
                  </a:lnTo>
                  <a:lnTo>
                    <a:pt x="366" y="793"/>
                  </a:lnTo>
                  <a:lnTo>
                    <a:pt x="365" y="790"/>
                  </a:lnTo>
                  <a:lnTo>
                    <a:pt x="364" y="788"/>
                  </a:lnTo>
                  <a:lnTo>
                    <a:pt x="362" y="785"/>
                  </a:lnTo>
                  <a:lnTo>
                    <a:pt x="359" y="783"/>
                  </a:lnTo>
                  <a:lnTo>
                    <a:pt x="357" y="782"/>
                  </a:lnTo>
                  <a:lnTo>
                    <a:pt x="354" y="781"/>
                  </a:lnTo>
                  <a:lnTo>
                    <a:pt x="351" y="7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305">
              <a:extLst>
                <a:ext uri="{FF2B5EF4-FFF2-40B4-BE49-F238E27FC236}">
                  <a16:creationId xmlns:a16="http://schemas.microsoft.com/office/drawing/2014/main" id="{4FAA4971-D50D-4C83-8AE6-B2E838EAE87D}"/>
                </a:ext>
              </a:extLst>
            </p:cNvPr>
            <p:cNvSpPr>
              <a:spLocks noEditPoints="1"/>
            </p:cNvSpPr>
            <p:nvPr/>
          </p:nvSpPr>
          <p:spPr bwMode="auto">
            <a:xfrm>
              <a:off x="6651625" y="2076451"/>
              <a:ext cx="47625" cy="47625"/>
            </a:xfrm>
            <a:custGeom>
              <a:avLst/>
              <a:gdLst>
                <a:gd name="T0" fmla="*/ 85 w 151"/>
                <a:gd name="T1" fmla="*/ 31 h 150"/>
                <a:gd name="T2" fmla="*/ 101 w 151"/>
                <a:gd name="T3" fmla="*/ 38 h 150"/>
                <a:gd name="T4" fmla="*/ 114 w 151"/>
                <a:gd name="T5" fmla="*/ 51 h 150"/>
                <a:gd name="T6" fmla="*/ 120 w 151"/>
                <a:gd name="T7" fmla="*/ 67 h 150"/>
                <a:gd name="T8" fmla="*/ 120 w 151"/>
                <a:gd name="T9" fmla="*/ 85 h 150"/>
                <a:gd name="T10" fmla="*/ 114 w 151"/>
                <a:gd name="T11" fmla="*/ 101 h 150"/>
                <a:gd name="T12" fmla="*/ 101 w 151"/>
                <a:gd name="T13" fmla="*/ 113 h 150"/>
                <a:gd name="T14" fmla="*/ 85 w 151"/>
                <a:gd name="T15" fmla="*/ 119 h 150"/>
                <a:gd name="T16" fmla="*/ 67 w 151"/>
                <a:gd name="T17" fmla="*/ 119 h 150"/>
                <a:gd name="T18" fmla="*/ 51 w 151"/>
                <a:gd name="T19" fmla="*/ 113 h 150"/>
                <a:gd name="T20" fmla="*/ 39 w 151"/>
                <a:gd name="T21" fmla="*/ 101 h 150"/>
                <a:gd name="T22" fmla="*/ 31 w 151"/>
                <a:gd name="T23" fmla="*/ 85 h 150"/>
                <a:gd name="T24" fmla="*/ 31 w 151"/>
                <a:gd name="T25" fmla="*/ 67 h 150"/>
                <a:gd name="T26" fmla="*/ 39 w 151"/>
                <a:gd name="T27" fmla="*/ 51 h 150"/>
                <a:gd name="T28" fmla="*/ 51 w 151"/>
                <a:gd name="T29" fmla="*/ 38 h 150"/>
                <a:gd name="T30" fmla="*/ 67 w 151"/>
                <a:gd name="T31" fmla="*/ 31 h 150"/>
                <a:gd name="T32" fmla="*/ 76 w 151"/>
                <a:gd name="T33" fmla="*/ 150 h 150"/>
                <a:gd name="T34" fmla="*/ 91 w 151"/>
                <a:gd name="T35" fmla="*/ 149 h 150"/>
                <a:gd name="T36" fmla="*/ 105 w 151"/>
                <a:gd name="T37" fmla="*/ 145 h 150"/>
                <a:gd name="T38" fmla="*/ 118 w 151"/>
                <a:gd name="T39" fmla="*/ 137 h 150"/>
                <a:gd name="T40" fmla="*/ 129 w 151"/>
                <a:gd name="T41" fmla="*/ 129 h 150"/>
                <a:gd name="T42" fmla="*/ 138 w 151"/>
                <a:gd name="T43" fmla="*/ 117 h 150"/>
                <a:gd name="T44" fmla="*/ 145 w 151"/>
                <a:gd name="T45" fmla="*/ 105 h 150"/>
                <a:gd name="T46" fmla="*/ 149 w 151"/>
                <a:gd name="T47" fmla="*/ 90 h 150"/>
                <a:gd name="T48" fmla="*/ 151 w 151"/>
                <a:gd name="T49" fmla="*/ 75 h 150"/>
                <a:gd name="T50" fmla="*/ 149 w 151"/>
                <a:gd name="T51" fmla="*/ 60 h 150"/>
                <a:gd name="T52" fmla="*/ 145 w 151"/>
                <a:gd name="T53" fmla="*/ 46 h 150"/>
                <a:gd name="T54" fmla="*/ 138 w 151"/>
                <a:gd name="T55" fmla="*/ 34 h 150"/>
                <a:gd name="T56" fmla="*/ 129 w 151"/>
                <a:gd name="T57" fmla="*/ 23 h 150"/>
                <a:gd name="T58" fmla="*/ 118 w 151"/>
                <a:gd name="T59" fmla="*/ 13 h 150"/>
                <a:gd name="T60" fmla="*/ 105 w 151"/>
                <a:gd name="T61" fmla="*/ 6 h 150"/>
                <a:gd name="T62" fmla="*/ 91 w 151"/>
                <a:gd name="T63" fmla="*/ 2 h 150"/>
                <a:gd name="T64" fmla="*/ 76 w 151"/>
                <a:gd name="T65" fmla="*/ 0 h 150"/>
                <a:gd name="T66" fmla="*/ 61 w 151"/>
                <a:gd name="T67" fmla="*/ 2 h 150"/>
                <a:gd name="T68" fmla="*/ 46 w 151"/>
                <a:gd name="T69" fmla="*/ 6 h 150"/>
                <a:gd name="T70" fmla="*/ 33 w 151"/>
                <a:gd name="T71" fmla="*/ 13 h 150"/>
                <a:gd name="T72" fmla="*/ 23 w 151"/>
                <a:gd name="T73" fmla="*/ 23 h 150"/>
                <a:gd name="T74" fmla="*/ 13 w 151"/>
                <a:gd name="T75" fmla="*/ 34 h 150"/>
                <a:gd name="T76" fmla="*/ 7 w 151"/>
                <a:gd name="T77" fmla="*/ 46 h 150"/>
                <a:gd name="T78" fmla="*/ 2 w 151"/>
                <a:gd name="T79" fmla="*/ 60 h 150"/>
                <a:gd name="T80" fmla="*/ 0 w 151"/>
                <a:gd name="T81" fmla="*/ 75 h 150"/>
                <a:gd name="T82" fmla="*/ 2 w 151"/>
                <a:gd name="T83" fmla="*/ 90 h 150"/>
                <a:gd name="T84" fmla="*/ 7 w 151"/>
                <a:gd name="T85" fmla="*/ 105 h 150"/>
                <a:gd name="T86" fmla="*/ 13 w 151"/>
                <a:gd name="T87" fmla="*/ 117 h 150"/>
                <a:gd name="T88" fmla="*/ 23 w 151"/>
                <a:gd name="T89" fmla="*/ 129 h 150"/>
                <a:gd name="T90" fmla="*/ 33 w 151"/>
                <a:gd name="T91" fmla="*/ 137 h 150"/>
                <a:gd name="T92" fmla="*/ 46 w 151"/>
                <a:gd name="T93" fmla="*/ 145 h 150"/>
                <a:gd name="T94" fmla="*/ 61 w 151"/>
                <a:gd name="T95" fmla="*/ 149 h 150"/>
                <a:gd name="T96" fmla="*/ 76 w 151"/>
                <a:gd name="T9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1" h="150">
                  <a:moveTo>
                    <a:pt x="76" y="30"/>
                  </a:moveTo>
                  <a:lnTo>
                    <a:pt x="85" y="31"/>
                  </a:lnTo>
                  <a:lnTo>
                    <a:pt x="93" y="34"/>
                  </a:lnTo>
                  <a:lnTo>
                    <a:pt x="101" y="38"/>
                  </a:lnTo>
                  <a:lnTo>
                    <a:pt x="107" y="44"/>
                  </a:lnTo>
                  <a:lnTo>
                    <a:pt x="114" y="51"/>
                  </a:lnTo>
                  <a:lnTo>
                    <a:pt x="117" y="58"/>
                  </a:lnTo>
                  <a:lnTo>
                    <a:pt x="120" y="67"/>
                  </a:lnTo>
                  <a:lnTo>
                    <a:pt x="121" y="75"/>
                  </a:lnTo>
                  <a:lnTo>
                    <a:pt x="120" y="85"/>
                  </a:lnTo>
                  <a:lnTo>
                    <a:pt x="117" y="94"/>
                  </a:lnTo>
                  <a:lnTo>
                    <a:pt x="114" y="101"/>
                  </a:lnTo>
                  <a:lnTo>
                    <a:pt x="107" y="107"/>
                  </a:lnTo>
                  <a:lnTo>
                    <a:pt x="101" y="113"/>
                  </a:lnTo>
                  <a:lnTo>
                    <a:pt x="93" y="117"/>
                  </a:lnTo>
                  <a:lnTo>
                    <a:pt x="85" y="119"/>
                  </a:lnTo>
                  <a:lnTo>
                    <a:pt x="76" y="120"/>
                  </a:lnTo>
                  <a:lnTo>
                    <a:pt x="67" y="119"/>
                  </a:lnTo>
                  <a:lnTo>
                    <a:pt x="58" y="117"/>
                  </a:lnTo>
                  <a:lnTo>
                    <a:pt x="51" y="113"/>
                  </a:lnTo>
                  <a:lnTo>
                    <a:pt x="44" y="107"/>
                  </a:lnTo>
                  <a:lnTo>
                    <a:pt x="39" y="101"/>
                  </a:lnTo>
                  <a:lnTo>
                    <a:pt x="34" y="94"/>
                  </a:lnTo>
                  <a:lnTo>
                    <a:pt x="31" y="85"/>
                  </a:lnTo>
                  <a:lnTo>
                    <a:pt x="31" y="75"/>
                  </a:lnTo>
                  <a:lnTo>
                    <a:pt x="31" y="67"/>
                  </a:lnTo>
                  <a:lnTo>
                    <a:pt x="34" y="58"/>
                  </a:lnTo>
                  <a:lnTo>
                    <a:pt x="39" y="51"/>
                  </a:lnTo>
                  <a:lnTo>
                    <a:pt x="44" y="44"/>
                  </a:lnTo>
                  <a:lnTo>
                    <a:pt x="51" y="38"/>
                  </a:lnTo>
                  <a:lnTo>
                    <a:pt x="58" y="34"/>
                  </a:lnTo>
                  <a:lnTo>
                    <a:pt x="67" y="31"/>
                  </a:lnTo>
                  <a:lnTo>
                    <a:pt x="76" y="30"/>
                  </a:lnTo>
                  <a:close/>
                  <a:moveTo>
                    <a:pt x="76" y="150"/>
                  </a:moveTo>
                  <a:lnTo>
                    <a:pt x="84" y="150"/>
                  </a:lnTo>
                  <a:lnTo>
                    <a:pt x="91" y="149"/>
                  </a:lnTo>
                  <a:lnTo>
                    <a:pt x="98" y="147"/>
                  </a:lnTo>
                  <a:lnTo>
                    <a:pt x="105" y="145"/>
                  </a:lnTo>
                  <a:lnTo>
                    <a:pt x="112" y="142"/>
                  </a:lnTo>
                  <a:lnTo>
                    <a:pt x="118" y="137"/>
                  </a:lnTo>
                  <a:lnTo>
                    <a:pt x="123" y="133"/>
                  </a:lnTo>
                  <a:lnTo>
                    <a:pt x="129" y="129"/>
                  </a:lnTo>
                  <a:lnTo>
                    <a:pt x="134" y="124"/>
                  </a:lnTo>
                  <a:lnTo>
                    <a:pt x="138" y="117"/>
                  </a:lnTo>
                  <a:lnTo>
                    <a:pt x="141" y="112"/>
                  </a:lnTo>
                  <a:lnTo>
                    <a:pt x="145" y="105"/>
                  </a:lnTo>
                  <a:lnTo>
                    <a:pt x="148" y="98"/>
                  </a:lnTo>
                  <a:lnTo>
                    <a:pt x="149" y="90"/>
                  </a:lnTo>
                  <a:lnTo>
                    <a:pt x="150" y="83"/>
                  </a:lnTo>
                  <a:lnTo>
                    <a:pt x="151" y="75"/>
                  </a:lnTo>
                  <a:lnTo>
                    <a:pt x="150" y="68"/>
                  </a:lnTo>
                  <a:lnTo>
                    <a:pt x="149" y="60"/>
                  </a:lnTo>
                  <a:lnTo>
                    <a:pt x="148" y="53"/>
                  </a:lnTo>
                  <a:lnTo>
                    <a:pt x="145" y="46"/>
                  </a:lnTo>
                  <a:lnTo>
                    <a:pt x="141" y="40"/>
                  </a:lnTo>
                  <a:lnTo>
                    <a:pt x="138" y="34"/>
                  </a:lnTo>
                  <a:lnTo>
                    <a:pt x="134" y="28"/>
                  </a:lnTo>
                  <a:lnTo>
                    <a:pt x="129" y="23"/>
                  </a:lnTo>
                  <a:lnTo>
                    <a:pt x="123" y="18"/>
                  </a:lnTo>
                  <a:lnTo>
                    <a:pt x="118" y="13"/>
                  </a:lnTo>
                  <a:lnTo>
                    <a:pt x="112" y="9"/>
                  </a:lnTo>
                  <a:lnTo>
                    <a:pt x="105" y="6"/>
                  </a:lnTo>
                  <a:lnTo>
                    <a:pt x="98" y="4"/>
                  </a:lnTo>
                  <a:lnTo>
                    <a:pt x="91" y="2"/>
                  </a:lnTo>
                  <a:lnTo>
                    <a:pt x="84" y="0"/>
                  </a:lnTo>
                  <a:lnTo>
                    <a:pt x="76" y="0"/>
                  </a:lnTo>
                  <a:lnTo>
                    <a:pt x="68" y="0"/>
                  </a:lnTo>
                  <a:lnTo>
                    <a:pt x="61" y="2"/>
                  </a:lnTo>
                  <a:lnTo>
                    <a:pt x="54" y="4"/>
                  </a:lnTo>
                  <a:lnTo>
                    <a:pt x="46" y="6"/>
                  </a:lnTo>
                  <a:lnTo>
                    <a:pt x="40" y="9"/>
                  </a:lnTo>
                  <a:lnTo>
                    <a:pt x="33" y="13"/>
                  </a:lnTo>
                  <a:lnTo>
                    <a:pt x="28" y="18"/>
                  </a:lnTo>
                  <a:lnTo>
                    <a:pt x="23" y="23"/>
                  </a:lnTo>
                  <a:lnTo>
                    <a:pt x="18" y="28"/>
                  </a:lnTo>
                  <a:lnTo>
                    <a:pt x="13" y="34"/>
                  </a:lnTo>
                  <a:lnTo>
                    <a:pt x="10" y="40"/>
                  </a:lnTo>
                  <a:lnTo>
                    <a:pt x="7" y="46"/>
                  </a:lnTo>
                  <a:lnTo>
                    <a:pt x="5" y="53"/>
                  </a:lnTo>
                  <a:lnTo>
                    <a:pt x="2" y="60"/>
                  </a:lnTo>
                  <a:lnTo>
                    <a:pt x="1" y="68"/>
                  </a:lnTo>
                  <a:lnTo>
                    <a:pt x="0" y="75"/>
                  </a:lnTo>
                  <a:lnTo>
                    <a:pt x="1" y="83"/>
                  </a:lnTo>
                  <a:lnTo>
                    <a:pt x="2" y="90"/>
                  </a:lnTo>
                  <a:lnTo>
                    <a:pt x="5" y="98"/>
                  </a:lnTo>
                  <a:lnTo>
                    <a:pt x="7" y="105"/>
                  </a:lnTo>
                  <a:lnTo>
                    <a:pt x="10" y="112"/>
                  </a:lnTo>
                  <a:lnTo>
                    <a:pt x="13" y="117"/>
                  </a:lnTo>
                  <a:lnTo>
                    <a:pt x="18" y="124"/>
                  </a:lnTo>
                  <a:lnTo>
                    <a:pt x="23" y="129"/>
                  </a:lnTo>
                  <a:lnTo>
                    <a:pt x="28" y="133"/>
                  </a:lnTo>
                  <a:lnTo>
                    <a:pt x="33" y="137"/>
                  </a:lnTo>
                  <a:lnTo>
                    <a:pt x="40" y="142"/>
                  </a:lnTo>
                  <a:lnTo>
                    <a:pt x="46" y="145"/>
                  </a:lnTo>
                  <a:lnTo>
                    <a:pt x="54" y="147"/>
                  </a:lnTo>
                  <a:lnTo>
                    <a:pt x="61" y="149"/>
                  </a:lnTo>
                  <a:lnTo>
                    <a:pt x="68" y="150"/>
                  </a:lnTo>
                  <a:lnTo>
                    <a:pt x="76"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306">
              <a:extLst>
                <a:ext uri="{FF2B5EF4-FFF2-40B4-BE49-F238E27FC236}">
                  <a16:creationId xmlns:a16="http://schemas.microsoft.com/office/drawing/2014/main" id="{83A98846-5844-4CEF-B95E-87A9AB6962FA}"/>
                </a:ext>
              </a:extLst>
            </p:cNvPr>
            <p:cNvSpPr>
              <a:spLocks noEditPoints="1"/>
            </p:cNvSpPr>
            <p:nvPr/>
          </p:nvSpPr>
          <p:spPr bwMode="auto">
            <a:xfrm>
              <a:off x="6618288" y="2041526"/>
              <a:ext cx="109538" cy="177800"/>
            </a:xfrm>
            <a:custGeom>
              <a:avLst/>
              <a:gdLst>
                <a:gd name="T0" fmla="*/ 181 w 346"/>
                <a:gd name="T1" fmla="*/ 441 h 561"/>
                <a:gd name="T2" fmla="*/ 75 w 346"/>
                <a:gd name="T3" fmla="*/ 323 h 561"/>
                <a:gd name="T4" fmla="*/ 108 w 346"/>
                <a:gd name="T5" fmla="*/ 345 h 561"/>
                <a:gd name="T6" fmla="*/ 149 w 346"/>
                <a:gd name="T7" fmla="*/ 368 h 561"/>
                <a:gd name="T8" fmla="*/ 197 w 346"/>
                <a:gd name="T9" fmla="*/ 368 h 561"/>
                <a:gd name="T10" fmla="*/ 239 w 346"/>
                <a:gd name="T11" fmla="*/ 345 h 561"/>
                <a:gd name="T12" fmla="*/ 255 w 346"/>
                <a:gd name="T13" fmla="*/ 326 h 561"/>
                <a:gd name="T14" fmla="*/ 279 w 346"/>
                <a:gd name="T15" fmla="*/ 321 h 561"/>
                <a:gd name="T16" fmla="*/ 46 w 346"/>
                <a:gd name="T17" fmla="*/ 191 h 561"/>
                <a:gd name="T18" fmla="*/ 39 w 346"/>
                <a:gd name="T19" fmla="*/ 169 h 561"/>
                <a:gd name="T20" fmla="*/ 30 w 346"/>
                <a:gd name="T21" fmla="*/ 135 h 561"/>
                <a:gd name="T22" fmla="*/ 44 w 346"/>
                <a:gd name="T23" fmla="*/ 101 h 561"/>
                <a:gd name="T24" fmla="*/ 73 w 346"/>
                <a:gd name="T25" fmla="*/ 82 h 561"/>
                <a:gd name="T26" fmla="*/ 105 w 346"/>
                <a:gd name="T27" fmla="*/ 79 h 561"/>
                <a:gd name="T28" fmla="*/ 121 w 346"/>
                <a:gd name="T29" fmla="*/ 61 h 561"/>
                <a:gd name="T30" fmla="*/ 147 w 346"/>
                <a:gd name="T31" fmla="*/ 37 h 561"/>
                <a:gd name="T32" fmla="*/ 182 w 346"/>
                <a:gd name="T33" fmla="*/ 31 h 561"/>
                <a:gd name="T34" fmla="*/ 214 w 346"/>
                <a:gd name="T35" fmla="*/ 47 h 561"/>
                <a:gd name="T36" fmla="*/ 233 w 346"/>
                <a:gd name="T37" fmla="*/ 74 h 561"/>
                <a:gd name="T38" fmla="*/ 255 w 346"/>
                <a:gd name="T39" fmla="*/ 78 h 561"/>
                <a:gd name="T40" fmla="*/ 289 w 346"/>
                <a:gd name="T41" fmla="*/ 89 h 561"/>
                <a:gd name="T42" fmla="*/ 312 w 346"/>
                <a:gd name="T43" fmla="*/ 117 h 561"/>
                <a:gd name="T44" fmla="*/ 315 w 346"/>
                <a:gd name="T45" fmla="*/ 152 h 561"/>
                <a:gd name="T46" fmla="*/ 300 w 346"/>
                <a:gd name="T47" fmla="*/ 182 h 561"/>
                <a:gd name="T48" fmla="*/ 307 w 346"/>
                <a:gd name="T49" fmla="*/ 204 h 561"/>
                <a:gd name="T50" fmla="*/ 316 w 346"/>
                <a:gd name="T51" fmla="*/ 238 h 561"/>
                <a:gd name="T52" fmla="*/ 303 w 346"/>
                <a:gd name="T53" fmla="*/ 272 h 561"/>
                <a:gd name="T54" fmla="*/ 273 w 346"/>
                <a:gd name="T55" fmla="*/ 292 h 561"/>
                <a:gd name="T56" fmla="*/ 241 w 346"/>
                <a:gd name="T57" fmla="*/ 295 h 561"/>
                <a:gd name="T58" fmla="*/ 226 w 346"/>
                <a:gd name="T59" fmla="*/ 311 h 561"/>
                <a:gd name="T60" fmla="*/ 199 w 346"/>
                <a:gd name="T61" fmla="*/ 335 h 561"/>
                <a:gd name="T62" fmla="*/ 164 w 346"/>
                <a:gd name="T63" fmla="*/ 341 h 561"/>
                <a:gd name="T64" fmla="*/ 132 w 346"/>
                <a:gd name="T65" fmla="*/ 326 h 561"/>
                <a:gd name="T66" fmla="*/ 115 w 346"/>
                <a:gd name="T67" fmla="*/ 299 h 561"/>
                <a:gd name="T68" fmla="*/ 102 w 346"/>
                <a:gd name="T69" fmla="*/ 293 h 561"/>
                <a:gd name="T70" fmla="*/ 73 w 346"/>
                <a:gd name="T71" fmla="*/ 292 h 561"/>
                <a:gd name="T72" fmla="*/ 44 w 346"/>
                <a:gd name="T73" fmla="*/ 272 h 561"/>
                <a:gd name="T74" fmla="*/ 30 w 346"/>
                <a:gd name="T75" fmla="*/ 238 h 561"/>
                <a:gd name="T76" fmla="*/ 39 w 346"/>
                <a:gd name="T77" fmla="*/ 204 h 561"/>
                <a:gd name="T78" fmla="*/ 343 w 346"/>
                <a:gd name="T79" fmla="*/ 164 h 561"/>
                <a:gd name="T80" fmla="*/ 343 w 346"/>
                <a:gd name="T81" fmla="*/ 117 h 561"/>
                <a:gd name="T82" fmla="*/ 319 w 346"/>
                <a:gd name="T83" fmla="*/ 74 h 561"/>
                <a:gd name="T84" fmla="*/ 278 w 346"/>
                <a:gd name="T85" fmla="*/ 52 h 561"/>
                <a:gd name="T86" fmla="*/ 239 w 346"/>
                <a:gd name="T87" fmla="*/ 29 h 561"/>
                <a:gd name="T88" fmla="*/ 198 w 346"/>
                <a:gd name="T89" fmla="*/ 5 h 561"/>
                <a:gd name="T90" fmla="*/ 149 w 346"/>
                <a:gd name="T91" fmla="*/ 5 h 561"/>
                <a:gd name="T92" fmla="*/ 108 w 346"/>
                <a:gd name="T93" fmla="*/ 29 h 561"/>
                <a:gd name="T94" fmla="*/ 69 w 346"/>
                <a:gd name="T95" fmla="*/ 52 h 561"/>
                <a:gd name="T96" fmla="*/ 27 w 346"/>
                <a:gd name="T97" fmla="*/ 75 h 561"/>
                <a:gd name="T98" fmla="*/ 4 w 346"/>
                <a:gd name="T99" fmla="*/ 117 h 561"/>
                <a:gd name="T100" fmla="*/ 5 w 346"/>
                <a:gd name="T101" fmla="*/ 164 h 561"/>
                <a:gd name="T102" fmla="*/ 5 w 346"/>
                <a:gd name="T103" fmla="*/ 209 h 561"/>
                <a:gd name="T104" fmla="*/ 4 w 346"/>
                <a:gd name="T105" fmla="*/ 257 h 561"/>
                <a:gd name="T106" fmla="*/ 27 w 346"/>
                <a:gd name="T107" fmla="*/ 298 h 561"/>
                <a:gd name="T108" fmla="*/ 46 w 346"/>
                <a:gd name="T109" fmla="*/ 550 h 561"/>
                <a:gd name="T110" fmla="*/ 58 w 346"/>
                <a:gd name="T111" fmla="*/ 561 h 561"/>
                <a:gd name="T112" fmla="*/ 181 w 346"/>
                <a:gd name="T113" fmla="*/ 475 h 561"/>
                <a:gd name="T114" fmla="*/ 299 w 346"/>
                <a:gd name="T115" fmla="*/ 561 h 561"/>
                <a:gd name="T116" fmla="*/ 311 w 346"/>
                <a:gd name="T117" fmla="*/ 558 h 561"/>
                <a:gd name="T118" fmla="*/ 316 w 346"/>
                <a:gd name="T119" fmla="*/ 301 h 561"/>
                <a:gd name="T120" fmla="*/ 343 w 346"/>
                <a:gd name="T121" fmla="*/ 257 h 561"/>
                <a:gd name="T122" fmla="*/ 343 w 346"/>
                <a:gd name="T123" fmla="*/ 209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6" h="561">
                  <a:moveTo>
                    <a:pt x="286" y="516"/>
                  </a:moveTo>
                  <a:lnTo>
                    <a:pt x="190" y="443"/>
                  </a:lnTo>
                  <a:lnTo>
                    <a:pt x="185" y="442"/>
                  </a:lnTo>
                  <a:lnTo>
                    <a:pt x="181" y="441"/>
                  </a:lnTo>
                  <a:lnTo>
                    <a:pt x="176" y="442"/>
                  </a:lnTo>
                  <a:lnTo>
                    <a:pt x="172" y="443"/>
                  </a:lnTo>
                  <a:lnTo>
                    <a:pt x="75" y="516"/>
                  </a:lnTo>
                  <a:lnTo>
                    <a:pt x="75" y="323"/>
                  </a:lnTo>
                  <a:lnTo>
                    <a:pt x="85" y="325"/>
                  </a:lnTo>
                  <a:lnTo>
                    <a:pt x="93" y="326"/>
                  </a:lnTo>
                  <a:lnTo>
                    <a:pt x="100" y="335"/>
                  </a:lnTo>
                  <a:lnTo>
                    <a:pt x="108" y="345"/>
                  </a:lnTo>
                  <a:lnTo>
                    <a:pt x="117" y="352"/>
                  </a:lnTo>
                  <a:lnTo>
                    <a:pt x="127" y="359"/>
                  </a:lnTo>
                  <a:lnTo>
                    <a:pt x="137" y="364"/>
                  </a:lnTo>
                  <a:lnTo>
                    <a:pt x="149" y="368"/>
                  </a:lnTo>
                  <a:lnTo>
                    <a:pt x="161" y="371"/>
                  </a:lnTo>
                  <a:lnTo>
                    <a:pt x="174" y="372"/>
                  </a:lnTo>
                  <a:lnTo>
                    <a:pt x="185" y="371"/>
                  </a:lnTo>
                  <a:lnTo>
                    <a:pt x="197" y="368"/>
                  </a:lnTo>
                  <a:lnTo>
                    <a:pt x="209" y="364"/>
                  </a:lnTo>
                  <a:lnTo>
                    <a:pt x="220" y="359"/>
                  </a:lnTo>
                  <a:lnTo>
                    <a:pt x="229" y="352"/>
                  </a:lnTo>
                  <a:lnTo>
                    <a:pt x="239" y="345"/>
                  </a:lnTo>
                  <a:lnTo>
                    <a:pt x="246" y="335"/>
                  </a:lnTo>
                  <a:lnTo>
                    <a:pt x="253" y="326"/>
                  </a:lnTo>
                  <a:lnTo>
                    <a:pt x="254" y="326"/>
                  </a:lnTo>
                  <a:lnTo>
                    <a:pt x="255" y="326"/>
                  </a:lnTo>
                  <a:lnTo>
                    <a:pt x="255" y="326"/>
                  </a:lnTo>
                  <a:lnTo>
                    <a:pt x="264" y="325"/>
                  </a:lnTo>
                  <a:lnTo>
                    <a:pt x="271" y="323"/>
                  </a:lnTo>
                  <a:lnTo>
                    <a:pt x="279" y="321"/>
                  </a:lnTo>
                  <a:lnTo>
                    <a:pt x="286" y="319"/>
                  </a:lnTo>
                  <a:lnTo>
                    <a:pt x="286" y="516"/>
                  </a:lnTo>
                  <a:close/>
                  <a:moveTo>
                    <a:pt x="44" y="196"/>
                  </a:moveTo>
                  <a:lnTo>
                    <a:pt x="46" y="191"/>
                  </a:lnTo>
                  <a:lnTo>
                    <a:pt x="47" y="186"/>
                  </a:lnTo>
                  <a:lnTo>
                    <a:pt x="46" y="182"/>
                  </a:lnTo>
                  <a:lnTo>
                    <a:pt x="44" y="178"/>
                  </a:lnTo>
                  <a:lnTo>
                    <a:pt x="39" y="169"/>
                  </a:lnTo>
                  <a:lnTo>
                    <a:pt x="35" y="162"/>
                  </a:lnTo>
                  <a:lnTo>
                    <a:pt x="32" y="152"/>
                  </a:lnTo>
                  <a:lnTo>
                    <a:pt x="30" y="144"/>
                  </a:lnTo>
                  <a:lnTo>
                    <a:pt x="30" y="135"/>
                  </a:lnTo>
                  <a:lnTo>
                    <a:pt x="32" y="127"/>
                  </a:lnTo>
                  <a:lnTo>
                    <a:pt x="35" y="117"/>
                  </a:lnTo>
                  <a:lnTo>
                    <a:pt x="39" y="108"/>
                  </a:lnTo>
                  <a:lnTo>
                    <a:pt x="44" y="101"/>
                  </a:lnTo>
                  <a:lnTo>
                    <a:pt x="50" y="94"/>
                  </a:lnTo>
                  <a:lnTo>
                    <a:pt x="57" y="89"/>
                  </a:lnTo>
                  <a:lnTo>
                    <a:pt x="65" y="85"/>
                  </a:lnTo>
                  <a:lnTo>
                    <a:pt x="73" y="82"/>
                  </a:lnTo>
                  <a:lnTo>
                    <a:pt x="82" y="79"/>
                  </a:lnTo>
                  <a:lnTo>
                    <a:pt x="91" y="78"/>
                  </a:lnTo>
                  <a:lnTo>
                    <a:pt x="101" y="78"/>
                  </a:lnTo>
                  <a:lnTo>
                    <a:pt x="105" y="79"/>
                  </a:lnTo>
                  <a:lnTo>
                    <a:pt x="111" y="77"/>
                  </a:lnTo>
                  <a:lnTo>
                    <a:pt x="114" y="74"/>
                  </a:lnTo>
                  <a:lnTo>
                    <a:pt x="117" y="70"/>
                  </a:lnTo>
                  <a:lnTo>
                    <a:pt x="121" y="61"/>
                  </a:lnTo>
                  <a:lnTo>
                    <a:pt x="126" y="54"/>
                  </a:lnTo>
                  <a:lnTo>
                    <a:pt x="132" y="47"/>
                  </a:lnTo>
                  <a:lnTo>
                    <a:pt x="139" y="41"/>
                  </a:lnTo>
                  <a:lnTo>
                    <a:pt x="147" y="37"/>
                  </a:lnTo>
                  <a:lnTo>
                    <a:pt x="156" y="33"/>
                  </a:lnTo>
                  <a:lnTo>
                    <a:pt x="164" y="31"/>
                  </a:lnTo>
                  <a:lnTo>
                    <a:pt x="174" y="30"/>
                  </a:lnTo>
                  <a:lnTo>
                    <a:pt x="182" y="31"/>
                  </a:lnTo>
                  <a:lnTo>
                    <a:pt x="192" y="33"/>
                  </a:lnTo>
                  <a:lnTo>
                    <a:pt x="199" y="37"/>
                  </a:lnTo>
                  <a:lnTo>
                    <a:pt x="208" y="41"/>
                  </a:lnTo>
                  <a:lnTo>
                    <a:pt x="214" y="47"/>
                  </a:lnTo>
                  <a:lnTo>
                    <a:pt x="221" y="54"/>
                  </a:lnTo>
                  <a:lnTo>
                    <a:pt x="226" y="61"/>
                  </a:lnTo>
                  <a:lnTo>
                    <a:pt x="229" y="70"/>
                  </a:lnTo>
                  <a:lnTo>
                    <a:pt x="233" y="74"/>
                  </a:lnTo>
                  <a:lnTo>
                    <a:pt x="236" y="77"/>
                  </a:lnTo>
                  <a:lnTo>
                    <a:pt x="241" y="79"/>
                  </a:lnTo>
                  <a:lnTo>
                    <a:pt x="246" y="78"/>
                  </a:lnTo>
                  <a:lnTo>
                    <a:pt x="255" y="78"/>
                  </a:lnTo>
                  <a:lnTo>
                    <a:pt x="265" y="79"/>
                  </a:lnTo>
                  <a:lnTo>
                    <a:pt x="273" y="82"/>
                  </a:lnTo>
                  <a:lnTo>
                    <a:pt x="282" y="85"/>
                  </a:lnTo>
                  <a:lnTo>
                    <a:pt x="289" y="89"/>
                  </a:lnTo>
                  <a:lnTo>
                    <a:pt x="297" y="94"/>
                  </a:lnTo>
                  <a:lnTo>
                    <a:pt x="303" y="101"/>
                  </a:lnTo>
                  <a:lnTo>
                    <a:pt x="307" y="108"/>
                  </a:lnTo>
                  <a:lnTo>
                    <a:pt x="312" y="117"/>
                  </a:lnTo>
                  <a:lnTo>
                    <a:pt x="315" y="127"/>
                  </a:lnTo>
                  <a:lnTo>
                    <a:pt x="316" y="135"/>
                  </a:lnTo>
                  <a:lnTo>
                    <a:pt x="316" y="144"/>
                  </a:lnTo>
                  <a:lnTo>
                    <a:pt x="315" y="152"/>
                  </a:lnTo>
                  <a:lnTo>
                    <a:pt x="312" y="162"/>
                  </a:lnTo>
                  <a:lnTo>
                    <a:pt x="307" y="169"/>
                  </a:lnTo>
                  <a:lnTo>
                    <a:pt x="302" y="178"/>
                  </a:lnTo>
                  <a:lnTo>
                    <a:pt x="300" y="182"/>
                  </a:lnTo>
                  <a:lnTo>
                    <a:pt x="299" y="186"/>
                  </a:lnTo>
                  <a:lnTo>
                    <a:pt x="300" y="191"/>
                  </a:lnTo>
                  <a:lnTo>
                    <a:pt x="302" y="196"/>
                  </a:lnTo>
                  <a:lnTo>
                    <a:pt x="307" y="204"/>
                  </a:lnTo>
                  <a:lnTo>
                    <a:pt x="312" y="212"/>
                  </a:lnTo>
                  <a:lnTo>
                    <a:pt x="315" y="221"/>
                  </a:lnTo>
                  <a:lnTo>
                    <a:pt x="316" y="229"/>
                  </a:lnTo>
                  <a:lnTo>
                    <a:pt x="316" y="238"/>
                  </a:lnTo>
                  <a:lnTo>
                    <a:pt x="315" y="247"/>
                  </a:lnTo>
                  <a:lnTo>
                    <a:pt x="312" y="256"/>
                  </a:lnTo>
                  <a:lnTo>
                    <a:pt x="307" y="265"/>
                  </a:lnTo>
                  <a:lnTo>
                    <a:pt x="303" y="272"/>
                  </a:lnTo>
                  <a:lnTo>
                    <a:pt x="297" y="278"/>
                  </a:lnTo>
                  <a:lnTo>
                    <a:pt x="289" y="285"/>
                  </a:lnTo>
                  <a:lnTo>
                    <a:pt x="282" y="289"/>
                  </a:lnTo>
                  <a:lnTo>
                    <a:pt x="273" y="292"/>
                  </a:lnTo>
                  <a:lnTo>
                    <a:pt x="265" y="293"/>
                  </a:lnTo>
                  <a:lnTo>
                    <a:pt x="255" y="295"/>
                  </a:lnTo>
                  <a:lnTo>
                    <a:pt x="246" y="293"/>
                  </a:lnTo>
                  <a:lnTo>
                    <a:pt x="241" y="295"/>
                  </a:lnTo>
                  <a:lnTo>
                    <a:pt x="236" y="296"/>
                  </a:lnTo>
                  <a:lnTo>
                    <a:pt x="233" y="299"/>
                  </a:lnTo>
                  <a:lnTo>
                    <a:pt x="229" y="302"/>
                  </a:lnTo>
                  <a:lnTo>
                    <a:pt x="226" y="311"/>
                  </a:lnTo>
                  <a:lnTo>
                    <a:pt x="221" y="319"/>
                  </a:lnTo>
                  <a:lnTo>
                    <a:pt x="214" y="326"/>
                  </a:lnTo>
                  <a:lnTo>
                    <a:pt x="208" y="331"/>
                  </a:lnTo>
                  <a:lnTo>
                    <a:pt x="199" y="335"/>
                  </a:lnTo>
                  <a:lnTo>
                    <a:pt x="192" y="338"/>
                  </a:lnTo>
                  <a:lnTo>
                    <a:pt x="182" y="341"/>
                  </a:lnTo>
                  <a:lnTo>
                    <a:pt x="174" y="342"/>
                  </a:lnTo>
                  <a:lnTo>
                    <a:pt x="164" y="341"/>
                  </a:lnTo>
                  <a:lnTo>
                    <a:pt x="156" y="338"/>
                  </a:lnTo>
                  <a:lnTo>
                    <a:pt x="147" y="335"/>
                  </a:lnTo>
                  <a:lnTo>
                    <a:pt x="139" y="331"/>
                  </a:lnTo>
                  <a:lnTo>
                    <a:pt x="132" y="326"/>
                  </a:lnTo>
                  <a:lnTo>
                    <a:pt x="126" y="319"/>
                  </a:lnTo>
                  <a:lnTo>
                    <a:pt x="121" y="311"/>
                  </a:lnTo>
                  <a:lnTo>
                    <a:pt x="117" y="302"/>
                  </a:lnTo>
                  <a:lnTo>
                    <a:pt x="115" y="299"/>
                  </a:lnTo>
                  <a:lnTo>
                    <a:pt x="112" y="297"/>
                  </a:lnTo>
                  <a:lnTo>
                    <a:pt x="107" y="295"/>
                  </a:lnTo>
                  <a:lnTo>
                    <a:pt x="103" y="293"/>
                  </a:lnTo>
                  <a:lnTo>
                    <a:pt x="102" y="293"/>
                  </a:lnTo>
                  <a:lnTo>
                    <a:pt x="101" y="293"/>
                  </a:lnTo>
                  <a:lnTo>
                    <a:pt x="91" y="295"/>
                  </a:lnTo>
                  <a:lnTo>
                    <a:pt x="82" y="293"/>
                  </a:lnTo>
                  <a:lnTo>
                    <a:pt x="73" y="292"/>
                  </a:lnTo>
                  <a:lnTo>
                    <a:pt x="65" y="289"/>
                  </a:lnTo>
                  <a:lnTo>
                    <a:pt x="57" y="285"/>
                  </a:lnTo>
                  <a:lnTo>
                    <a:pt x="50" y="278"/>
                  </a:lnTo>
                  <a:lnTo>
                    <a:pt x="44" y="272"/>
                  </a:lnTo>
                  <a:lnTo>
                    <a:pt x="39" y="265"/>
                  </a:lnTo>
                  <a:lnTo>
                    <a:pt x="35" y="256"/>
                  </a:lnTo>
                  <a:lnTo>
                    <a:pt x="32" y="247"/>
                  </a:lnTo>
                  <a:lnTo>
                    <a:pt x="30" y="238"/>
                  </a:lnTo>
                  <a:lnTo>
                    <a:pt x="30" y="229"/>
                  </a:lnTo>
                  <a:lnTo>
                    <a:pt x="32" y="221"/>
                  </a:lnTo>
                  <a:lnTo>
                    <a:pt x="35" y="212"/>
                  </a:lnTo>
                  <a:lnTo>
                    <a:pt x="39" y="204"/>
                  </a:lnTo>
                  <a:lnTo>
                    <a:pt x="44" y="196"/>
                  </a:lnTo>
                  <a:close/>
                  <a:moveTo>
                    <a:pt x="332" y="186"/>
                  </a:moveTo>
                  <a:lnTo>
                    <a:pt x="338" y="176"/>
                  </a:lnTo>
                  <a:lnTo>
                    <a:pt x="343" y="164"/>
                  </a:lnTo>
                  <a:lnTo>
                    <a:pt x="345" y="153"/>
                  </a:lnTo>
                  <a:lnTo>
                    <a:pt x="346" y="140"/>
                  </a:lnTo>
                  <a:lnTo>
                    <a:pt x="346" y="129"/>
                  </a:lnTo>
                  <a:lnTo>
                    <a:pt x="343" y="117"/>
                  </a:lnTo>
                  <a:lnTo>
                    <a:pt x="340" y="105"/>
                  </a:lnTo>
                  <a:lnTo>
                    <a:pt x="334" y="93"/>
                  </a:lnTo>
                  <a:lnTo>
                    <a:pt x="327" y="84"/>
                  </a:lnTo>
                  <a:lnTo>
                    <a:pt x="319" y="74"/>
                  </a:lnTo>
                  <a:lnTo>
                    <a:pt x="310" y="67"/>
                  </a:lnTo>
                  <a:lnTo>
                    <a:pt x="300" y="60"/>
                  </a:lnTo>
                  <a:lnTo>
                    <a:pt x="288" y="55"/>
                  </a:lnTo>
                  <a:lnTo>
                    <a:pt x="278" y="52"/>
                  </a:lnTo>
                  <a:lnTo>
                    <a:pt x="266" y="49"/>
                  </a:lnTo>
                  <a:lnTo>
                    <a:pt x="253" y="48"/>
                  </a:lnTo>
                  <a:lnTo>
                    <a:pt x="246" y="39"/>
                  </a:lnTo>
                  <a:lnTo>
                    <a:pt x="239" y="29"/>
                  </a:lnTo>
                  <a:lnTo>
                    <a:pt x="229" y="21"/>
                  </a:lnTo>
                  <a:lnTo>
                    <a:pt x="220" y="14"/>
                  </a:lnTo>
                  <a:lnTo>
                    <a:pt x="209" y="9"/>
                  </a:lnTo>
                  <a:lnTo>
                    <a:pt x="198" y="5"/>
                  </a:lnTo>
                  <a:lnTo>
                    <a:pt x="185" y="1"/>
                  </a:lnTo>
                  <a:lnTo>
                    <a:pt x="174" y="0"/>
                  </a:lnTo>
                  <a:lnTo>
                    <a:pt x="161" y="1"/>
                  </a:lnTo>
                  <a:lnTo>
                    <a:pt x="149" y="5"/>
                  </a:lnTo>
                  <a:lnTo>
                    <a:pt x="137" y="9"/>
                  </a:lnTo>
                  <a:lnTo>
                    <a:pt x="127" y="14"/>
                  </a:lnTo>
                  <a:lnTo>
                    <a:pt x="117" y="21"/>
                  </a:lnTo>
                  <a:lnTo>
                    <a:pt x="108" y="29"/>
                  </a:lnTo>
                  <a:lnTo>
                    <a:pt x="100" y="39"/>
                  </a:lnTo>
                  <a:lnTo>
                    <a:pt x="93" y="48"/>
                  </a:lnTo>
                  <a:lnTo>
                    <a:pt x="82" y="49"/>
                  </a:lnTo>
                  <a:lnTo>
                    <a:pt x="69" y="52"/>
                  </a:lnTo>
                  <a:lnTo>
                    <a:pt x="58" y="56"/>
                  </a:lnTo>
                  <a:lnTo>
                    <a:pt x="46" y="60"/>
                  </a:lnTo>
                  <a:lnTo>
                    <a:pt x="37" y="67"/>
                  </a:lnTo>
                  <a:lnTo>
                    <a:pt x="27" y="75"/>
                  </a:lnTo>
                  <a:lnTo>
                    <a:pt x="20" y="84"/>
                  </a:lnTo>
                  <a:lnTo>
                    <a:pt x="13" y="93"/>
                  </a:lnTo>
                  <a:lnTo>
                    <a:pt x="7" y="105"/>
                  </a:lnTo>
                  <a:lnTo>
                    <a:pt x="4" y="117"/>
                  </a:lnTo>
                  <a:lnTo>
                    <a:pt x="1" y="129"/>
                  </a:lnTo>
                  <a:lnTo>
                    <a:pt x="0" y="140"/>
                  </a:lnTo>
                  <a:lnTo>
                    <a:pt x="1" y="153"/>
                  </a:lnTo>
                  <a:lnTo>
                    <a:pt x="5" y="164"/>
                  </a:lnTo>
                  <a:lnTo>
                    <a:pt x="8" y="176"/>
                  </a:lnTo>
                  <a:lnTo>
                    <a:pt x="14" y="186"/>
                  </a:lnTo>
                  <a:lnTo>
                    <a:pt x="8" y="198"/>
                  </a:lnTo>
                  <a:lnTo>
                    <a:pt x="5" y="209"/>
                  </a:lnTo>
                  <a:lnTo>
                    <a:pt x="1" y="221"/>
                  </a:lnTo>
                  <a:lnTo>
                    <a:pt x="0" y="232"/>
                  </a:lnTo>
                  <a:lnTo>
                    <a:pt x="1" y="245"/>
                  </a:lnTo>
                  <a:lnTo>
                    <a:pt x="4" y="257"/>
                  </a:lnTo>
                  <a:lnTo>
                    <a:pt x="7" y="269"/>
                  </a:lnTo>
                  <a:lnTo>
                    <a:pt x="13" y="280"/>
                  </a:lnTo>
                  <a:lnTo>
                    <a:pt x="20" y="289"/>
                  </a:lnTo>
                  <a:lnTo>
                    <a:pt x="27" y="298"/>
                  </a:lnTo>
                  <a:lnTo>
                    <a:pt x="36" y="305"/>
                  </a:lnTo>
                  <a:lnTo>
                    <a:pt x="45" y="312"/>
                  </a:lnTo>
                  <a:lnTo>
                    <a:pt x="45" y="546"/>
                  </a:lnTo>
                  <a:lnTo>
                    <a:pt x="46" y="550"/>
                  </a:lnTo>
                  <a:lnTo>
                    <a:pt x="47" y="555"/>
                  </a:lnTo>
                  <a:lnTo>
                    <a:pt x="51" y="558"/>
                  </a:lnTo>
                  <a:lnTo>
                    <a:pt x="54" y="559"/>
                  </a:lnTo>
                  <a:lnTo>
                    <a:pt x="58" y="561"/>
                  </a:lnTo>
                  <a:lnTo>
                    <a:pt x="62" y="561"/>
                  </a:lnTo>
                  <a:lnTo>
                    <a:pt x="66" y="560"/>
                  </a:lnTo>
                  <a:lnTo>
                    <a:pt x="70" y="558"/>
                  </a:lnTo>
                  <a:lnTo>
                    <a:pt x="181" y="475"/>
                  </a:lnTo>
                  <a:lnTo>
                    <a:pt x="292" y="558"/>
                  </a:lnTo>
                  <a:lnTo>
                    <a:pt x="294" y="560"/>
                  </a:lnTo>
                  <a:lnTo>
                    <a:pt x="297" y="560"/>
                  </a:lnTo>
                  <a:lnTo>
                    <a:pt x="299" y="561"/>
                  </a:lnTo>
                  <a:lnTo>
                    <a:pt x="301" y="561"/>
                  </a:lnTo>
                  <a:lnTo>
                    <a:pt x="304" y="561"/>
                  </a:lnTo>
                  <a:lnTo>
                    <a:pt x="307" y="559"/>
                  </a:lnTo>
                  <a:lnTo>
                    <a:pt x="311" y="558"/>
                  </a:lnTo>
                  <a:lnTo>
                    <a:pt x="314" y="555"/>
                  </a:lnTo>
                  <a:lnTo>
                    <a:pt x="315" y="550"/>
                  </a:lnTo>
                  <a:lnTo>
                    <a:pt x="316" y="546"/>
                  </a:lnTo>
                  <a:lnTo>
                    <a:pt x="316" y="301"/>
                  </a:lnTo>
                  <a:lnTo>
                    <a:pt x="326" y="291"/>
                  </a:lnTo>
                  <a:lnTo>
                    <a:pt x="334" y="280"/>
                  </a:lnTo>
                  <a:lnTo>
                    <a:pt x="340" y="269"/>
                  </a:lnTo>
                  <a:lnTo>
                    <a:pt x="343" y="257"/>
                  </a:lnTo>
                  <a:lnTo>
                    <a:pt x="346" y="245"/>
                  </a:lnTo>
                  <a:lnTo>
                    <a:pt x="346" y="232"/>
                  </a:lnTo>
                  <a:lnTo>
                    <a:pt x="345" y="221"/>
                  </a:lnTo>
                  <a:lnTo>
                    <a:pt x="343" y="209"/>
                  </a:lnTo>
                  <a:lnTo>
                    <a:pt x="338" y="198"/>
                  </a:lnTo>
                  <a:lnTo>
                    <a:pt x="332" y="1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5" name="Picture 4" descr="Chart, bar chart&#10;&#10;Description automatically generated">
            <a:extLst>
              <a:ext uri="{FF2B5EF4-FFF2-40B4-BE49-F238E27FC236}">
                <a16:creationId xmlns:a16="http://schemas.microsoft.com/office/drawing/2014/main" id="{7C89E739-08D2-409E-B1EA-F34FEA96C7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0595" y="-261069"/>
            <a:ext cx="5940776" cy="6858000"/>
          </a:xfrm>
          <a:prstGeom prst="rect">
            <a:avLst/>
          </a:prstGeom>
        </p:spPr>
      </p:pic>
      <p:pic>
        <p:nvPicPr>
          <p:cNvPr id="7" name="Picture 6" descr="Chart, bar chart&#10;&#10;Description automatically generated">
            <a:extLst>
              <a:ext uri="{FF2B5EF4-FFF2-40B4-BE49-F238E27FC236}">
                <a16:creationId xmlns:a16="http://schemas.microsoft.com/office/drawing/2014/main" id="{0B92907E-8222-4683-9CB2-2806C27505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32926" y="-207671"/>
            <a:ext cx="7607749" cy="6858000"/>
          </a:xfrm>
          <a:prstGeom prst="rect">
            <a:avLst/>
          </a:prstGeom>
        </p:spPr>
      </p:pic>
    </p:spTree>
    <p:extLst>
      <p:ext uri="{BB962C8B-B14F-4D97-AF65-F5344CB8AC3E}">
        <p14:creationId xmlns:p14="http://schemas.microsoft.com/office/powerpoint/2010/main" val="5452142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Freeform: Shape 59">
            <a:extLst>
              <a:ext uri="{FF2B5EF4-FFF2-40B4-BE49-F238E27FC236}">
                <a16:creationId xmlns:a16="http://schemas.microsoft.com/office/drawing/2014/main" id="{2F4964F9-79AB-4BE1-9862-76CE4510D553}"/>
              </a:ext>
            </a:extLst>
          </p:cNvPr>
          <p:cNvSpPr/>
          <p:nvPr/>
        </p:nvSpPr>
        <p:spPr>
          <a:xfrm>
            <a:off x="-3175" y="4988118"/>
            <a:ext cx="10988503" cy="1869882"/>
          </a:xfrm>
          <a:custGeom>
            <a:avLst/>
            <a:gdLst>
              <a:gd name="connsiteX0" fmla="*/ 1310303 w 10988503"/>
              <a:gd name="connsiteY0" fmla="*/ 22 h 1869882"/>
              <a:gd name="connsiteX1" fmla="*/ 6483550 w 10988503"/>
              <a:gd name="connsiteY1" fmla="*/ 1580690 h 1869882"/>
              <a:gd name="connsiteX2" fmla="*/ 10974880 w 10988503"/>
              <a:gd name="connsiteY2" fmla="*/ 1866382 h 1869882"/>
              <a:gd name="connsiteX3" fmla="*/ 10988503 w 10988503"/>
              <a:gd name="connsiteY3" fmla="*/ 1869882 h 1869882"/>
              <a:gd name="connsiteX4" fmla="*/ 0 w 10988503"/>
              <a:gd name="connsiteY4" fmla="*/ 1869882 h 1869882"/>
              <a:gd name="connsiteX5" fmla="*/ 0 w 10988503"/>
              <a:gd name="connsiteY5" fmla="*/ 1794198 h 1869882"/>
              <a:gd name="connsiteX6" fmla="*/ 0 w 10988503"/>
              <a:gd name="connsiteY6" fmla="*/ 334669 h 1869882"/>
              <a:gd name="connsiteX7" fmla="*/ 1310303 w 10988503"/>
              <a:gd name="connsiteY7" fmla="*/ 22 h 186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88503" h="1869882">
                <a:moveTo>
                  <a:pt x="1310303" y="22"/>
                </a:moveTo>
                <a:cubicBezTo>
                  <a:pt x="3087798" y="-7336"/>
                  <a:pt x="4449871" y="1761474"/>
                  <a:pt x="6483550" y="1580690"/>
                </a:cubicBezTo>
                <a:cubicBezTo>
                  <a:pt x="8348226" y="1415442"/>
                  <a:pt x="9844847" y="1591559"/>
                  <a:pt x="10974880" y="1866382"/>
                </a:cubicBezTo>
                <a:lnTo>
                  <a:pt x="10988503" y="1869882"/>
                </a:lnTo>
                <a:lnTo>
                  <a:pt x="0" y="1869882"/>
                </a:lnTo>
                <a:lnTo>
                  <a:pt x="0" y="1794198"/>
                </a:lnTo>
                <a:cubicBezTo>
                  <a:pt x="0" y="1432462"/>
                  <a:pt x="0" y="957720"/>
                  <a:pt x="0" y="334669"/>
                </a:cubicBezTo>
                <a:cubicBezTo>
                  <a:pt x="467797" y="98006"/>
                  <a:pt x="900111" y="1719"/>
                  <a:pt x="1310303" y="22"/>
                </a:cubicBezTo>
                <a:close/>
              </a:path>
            </a:pathLst>
          </a:custGeom>
          <a:gradFill>
            <a:gsLst>
              <a:gs pos="0">
                <a:srgbClr val="393762"/>
              </a:gs>
              <a:gs pos="50000">
                <a:srgbClr val="C779D0"/>
              </a:gs>
              <a:gs pos="100000">
                <a:srgbClr val="E4859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a:extLst>
              <a:ext uri="{FF2B5EF4-FFF2-40B4-BE49-F238E27FC236}">
                <a16:creationId xmlns:a16="http://schemas.microsoft.com/office/drawing/2014/main" id="{5C67D406-5165-4360-8C1C-324029DCCE25}"/>
              </a:ext>
            </a:extLst>
          </p:cNvPr>
          <p:cNvSpPr txBox="1"/>
          <p:nvPr/>
        </p:nvSpPr>
        <p:spPr>
          <a:xfrm>
            <a:off x="266700" y="337269"/>
            <a:ext cx="11658600" cy="553998"/>
          </a:xfrm>
          <a:prstGeom prst="rect">
            <a:avLst/>
          </a:prstGeom>
          <a:noFill/>
        </p:spPr>
        <p:txBody>
          <a:bodyPr wrap="square" lIns="0" tIns="0" rIns="0" bIns="0" rtlCol="0" anchor="t">
            <a:spAutoFit/>
          </a:bodyPr>
          <a:lstStyle/>
          <a:p>
            <a:pPr algn="ctr"/>
            <a:r>
              <a:rPr lang="en-US" sz="3600" b="1" dirty="0">
                <a:solidFill>
                  <a:schemeClr val="tx1">
                    <a:lumMod val="75000"/>
                    <a:lumOff val="25000"/>
                  </a:schemeClr>
                </a:solidFill>
                <a:latin typeface="+mj-lt"/>
                <a:ea typeface="Segoe UI Black" panose="020B0A02040204020203" pitchFamily="34" charset="0"/>
                <a:cs typeface="Segoe UI" panose="020B0502040204020203" pitchFamily="34" charset="0"/>
              </a:rPr>
              <a:t>Data Exploration and Statistical Analysis</a:t>
            </a:r>
          </a:p>
        </p:txBody>
      </p:sp>
      <p:sp>
        <p:nvSpPr>
          <p:cNvPr id="51" name="Date Placeholder 50">
            <a:extLst>
              <a:ext uri="{FF2B5EF4-FFF2-40B4-BE49-F238E27FC236}">
                <a16:creationId xmlns:a16="http://schemas.microsoft.com/office/drawing/2014/main" id="{7503AC9C-2A15-4763-9BD1-8EE7F5EB1B56}"/>
              </a:ext>
            </a:extLst>
          </p:cNvPr>
          <p:cNvSpPr>
            <a:spLocks noGrp="1"/>
          </p:cNvSpPr>
          <p:nvPr>
            <p:ph type="dt" sz="half" idx="10"/>
          </p:nvPr>
        </p:nvSpPr>
        <p:spPr/>
        <p:txBody>
          <a:bodyPr/>
          <a:lstStyle/>
          <a:p>
            <a:fld id="{581601AE-D121-467F-9CAE-E6980EB143C1}" type="datetime1">
              <a:rPr lang="en-US" smtClean="0">
                <a:solidFill>
                  <a:schemeClr val="tx1"/>
                </a:solidFill>
              </a:rPr>
              <a:t>3/25/2021</a:t>
            </a:fld>
            <a:endParaRPr lang="en-US">
              <a:solidFill>
                <a:schemeClr val="tx1"/>
              </a:solidFill>
            </a:endParaRPr>
          </a:p>
        </p:txBody>
      </p:sp>
      <p:sp>
        <p:nvSpPr>
          <p:cNvPr id="52" name="Slide Number Placeholder 51">
            <a:extLst>
              <a:ext uri="{FF2B5EF4-FFF2-40B4-BE49-F238E27FC236}">
                <a16:creationId xmlns:a16="http://schemas.microsoft.com/office/drawing/2014/main" id="{0E138C45-4489-4E6D-BF08-27D313165EAD}"/>
              </a:ext>
            </a:extLst>
          </p:cNvPr>
          <p:cNvSpPr>
            <a:spLocks noGrp="1"/>
          </p:cNvSpPr>
          <p:nvPr>
            <p:ph type="sldNum" sz="quarter" idx="12"/>
          </p:nvPr>
        </p:nvSpPr>
        <p:spPr/>
        <p:txBody>
          <a:bodyPr/>
          <a:lstStyle/>
          <a:p>
            <a:fld id="{2B5E5E57-0193-45F1-AA6D-ABE38BBADBB1}" type="slidenum">
              <a:rPr lang="en-US" smtClean="0">
                <a:solidFill>
                  <a:schemeClr val="tx1"/>
                </a:solidFill>
              </a:rPr>
              <a:t>11</a:t>
            </a:fld>
            <a:endParaRPr lang="en-US">
              <a:solidFill>
                <a:schemeClr val="tx1"/>
              </a:solidFill>
            </a:endParaRPr>
          </a:p>
        </p:txBody>
      </p:sp>
      <p:sp>
        <p:nvSpPr>
          <p:cNvPr id="68" name="Freeform 122">
            <a:extLst>
              <a:ext uri="{FF2B5EF4-FFF2-40B4-BE49-F238E27FC236}">
                <a16:creationId xmlns:a16="http://schemas.microsoft.com/office/drawing/2014/main" id="{5A8B61EE-E905-4A04-86AB-E8905B71042E}"/>
              </a:ext>
            </a:extLst>
          </p:cNvPr>
          <p:cNvSpPr>
            <a:spLocks noEditPoints="1"/>
          </p:cNvSpPr>
          <p:nvPr/>
        </p:nvSpPr>
        <p:spPr bwMode="auto">
          <a:xfrm>
            <a:off x="677937" y="1738119"/>
            <a:ext cx="287338" cy="263525"/>
          </a:xfrm>
          <a:custGeom>
            <a:avLst/>
            <a:gdLst>
              <a:gd name="T0" fmla="*/ 376 w 907"/>
              <a:gd name="T1" fmla="*/ 508 h 827"/>
              <a:gd name="T2" fmla="*/ 866 w 907"/>
              <a:gd name="T3" fmla="*/ 58 h 827"/>
              <a:gd name="T4" fmla="*/ 366 w 907"/>
              <a:gd name="T5" fmla="*/ 758 h 827"/>
              <a:gd name="T6" fmla="*/ 466 w 907"/>
              <a:gd name="T7" fmla="*/ 590 h 827"/>
              <a:gd name="T8" fmla="*/ 819 w 907"/>
              <a:gd name="T9" fmla="*/ 61 h 827"/>
              <a:gd name="T10" fmla="*/ 55 w 907"/>
              <a:gd name="T11" fmla="*/ 375 h 827"/>
              <a:gd name="T12" fmla="*/ 907 w 907"/>
              <a:gd name="T13" fmla="*/ 15 h 827"/>
              <a:gd name="T14" fmla="*/ 906 w 907"/>
              <a:gd name="T15" fmla="*/ 12 h 827"/>
              <a:gd name="T16" fmla="*/ 906 w 907"/>
              <a:gd name="T17" fmla="*/ 11 h 827"/>
              <a:gd name="T18" fmla="*/ 905 w 907"/>
              <a:gd name="T19" fmla="*/ 8 h 827"/>
              <a:gd name="T20" fmla="*/ 905 w 907"/>
              <a:gd name="T21" fmla="*/ 6 h 827"/>
              <a:gd name="T22" fmla="*/ 904 w 907"/>
              <a:gd name="T23" fmla="*/ 5 h 827"/>
              <a:gd name="T24" fmla="*/ 902 w 907"/>
              <a:gd name="T25" fmla="*/ 3 h 827"/>
              <a:gd name="T26" fmla="*/ 900 w 907"/>
              <a:gd name="T27" fmla="*/ 2 h 827"/>
              <a:gd name="T28" fmla="*/ 900 w 907"/>
              <a:gd name="T29" fmla="*/ 2 h 827"/>
              <a:gd name="T30" fmla="*/ 897 w 907"/>
              <a:gd name="T31" fmla="*/ 1 h 827"/>
              <a:gd name="T32" fmla="*/ 895 w 907"/>
              <a:gd name="T33" fmla="*/ 0 h 827"/>
              <a:gd name="T34" fmla="*/ 893 w 907"/>
              <a:gd name="T35" fmla="*/ 0 h 827"/>
              <a:gd name="T36" fmla="*/ 891 w 907"/>
              <a:gd name="T37" fmla="*/ 0 h 827"/>
              <a:gd name="T38" fmla="*/ 887 w 907"/>
              <a:gd name="T39" fmla="*/ 1 h 827"/>
              <a:gd name="T40" fmla="*/ 886 w 907"/>
              <a:gd name="T41" fmla="*/ 1 h 827"/>
              <a:gd name="T42" fmla="*/ 886 w 907"/>
              <a:gd name="T43" fmla="*/ 1 h 827"/>
              <a:gd name="T44" fmla="*/ 5 w 907"/>
              <a:gd name="T45" fmla="*/ 365 h 827"/>
              <a:gd name="T46" fmla="*/ 1 w 907"/>
              <a:gd name="T47" fmla="*/ 372 h 827"/>
              <a:gd name="T48" fmla="*/ 1 w 907"/>
              <a:gd name="T49" fmla="*/ 381 h 827"/>
              <a:gd name="T50" fmla="*/ 5 w 907"/>
              <a:gd name="T51" fmla="*/ 388 h 827"/>
              <a:gd name="T52" fmla="*/ 336 w 907"/>
              <a:gd name="T53" fmla="*/ 521 h 827"/>
              <a:gd name="T54" fmla="*/ 336 w 907"/>
              <a:gd name="T55" fmla="*/ 817 h 827"/>
              <a:gd name="T56" fmla="*/ 342 w 907"/>
              <a:gd name="T57" fmla="*/ 825 h 827"/>
              <a:gd name="T58" fmla="*/ 348 w 907"/>
              <a:gd name="T59" fmla="*/ 827 h 827"/>
              <a:gd name="T60" fmla="*/ 354 w 907"/>
              <a:gd name="T61" fmla="*/ 827 h 827"/>
              <a:gd name="T62" fmla="*/ 360 w 907"/>
              <a:gd name="T63" fmla="*/ 823 h 827"/>
              <a:gd name="T64" fmla="*/ 492 w 907"/>
              <a:gd name="T65" fmla="*/ 605 h 827"/>
              <a:gd name="T66" fmla="*/ 732 w 907"/>
              <a:gd name="T67" fmla="*/ 732 h 827"/>
              <a:gd name="T68" fmla="*/ 739 w 907"/>
              <a:gd name="T69" fmla="*/ 732 h 827"/>
              <a:gd name="T70" fmla="*/ 745 w 907"/>
              <a:gd name="T71" fmla="*/ 729 h 827"/>
              <a:gd name="T72" fmla="*/ 749 w 907"/>
              <a:gd name="T73" fmla="*/ 724 h 827"/>
              <a:gd name="T74" fmla="*/ 906 w 907"/>
              <a:gd name="T75" fmla="*/ 18 h 827"/>
              <a:gd name="T76" fmla="*/ 906 w 907"/>
              <a:gd name="T77" fmla="*/ 17 h 827"/>
              <a:gd name="T78" fmla="*/ 907 w 907"/>
              <a:gd name="T79" fmla="*/ 15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07" h="827">
                <a:moveTo>
                  <a:pt x="726" y="695"/>
                </a:moveTo>
                <a:lnTo>
                  <a:pt x="376" y="508"/>
                </a:lnTo>
                <a:lnTo>
                  <a:pt x="834" y="88"/>
                </a:lnTo>
                <a:lnTo>
                  <a:pt x="866" y="58"/>
                </a:lnTo>
                <a:lnTo>
                  <a:pt x="726" y="695"/>
                </a:lnTo>
                <a:close/>
                <a:moveTo>
                  <a:pt x="366" y="758"/>
                </a:moveTo>
                <a:lnTo>
                  <a:pt x="366" y="536"/>
                </a:lnTo>
                <a:lnTo>
                  <a:pt x="466" y="590"/>
                </a:lnTo>
                <a:lnTo>
                  <a:pt x="366" y="758"/>
                </a:lnTo>
                <a:close/>
                <a:moveTo>
                  <a:pt x="819" y="61"/>
                </a:moveTo>
                <a:lnTo>
                  <a:pt x="347" y="493"/>
                </a:lnTo>
                <a:lnTo>
                  <a:pt x="55" y="375"/>
                </a:lnTo>
                <a:lnTo>
                  <a:pt x="819" y="61"/>
                </a:lnTo>
                <a:close/>
                <a:moveTo>
                  <a:pt x="907" y="15"/>
                </a:moveTo>
                <a:lnTo>
                  <a:pt x="907" y="14"/>
                </a:lnTo>
                <a:lnTo>
                  <a:pt x="906" y="12"/>
                </a:lnTo>
                <a:lnTo>
                  <a:pt x="906" y="12"/>
                </a:lnTo>
                <a:lnTo>
                  <a:pt x="906" y="11"/>
                </a:lnTo>
                <a:lnTo>
                  <a:pt x="905" y="9"/>
                </a:lnTo>
                <a:lnTo>
                  <a:pt x="905" y="8"/>
                </a:lnTo>
                <a:lnTo>
                  <a:pt x="905" y="8"/>
                </a:lnTo>
                <a:lnTo>
                  <a:pt x="905" y="6"/>
                </a:lnTo>
                <a:lnTo>
                  <a:pt x="904" y="6"/>
                </a:lnTo>
                <a:lnTo>
                  <a:pt x="904" y="5"/>
                </a:lnTo>
                <a:lnTo>
                  <a:pt x="903" y="4"/>
                </a:lnTo>
                <a:lnTo>
                  <a:pt x="902" y="3"/>
                </a:lnTo>
                <a:lnTo>
                  <a:pt x="901" y="3"/>
                </a:lnTo>
                <a:lnTo>
                  <a:pt x="900" y="2"/>
                </a:lnTo>
                <a:lnTo>
                  <a:pt x="900" y="2"/>
                </a:lnTo>
                <a:lnTo>
                  <a:pt x="900" y="2"/>
                </a:lnTo>
                <a:lnTo>
                  <a:pt x="898" y="1"/>
                </a:lnTo>
                <a:lnTo>
                  <a:pt x="897" y="1"/>
                </a:lnTo>
                <a:lnTo>
                  <a:pt x="896" y="1"/>
                </a:lnTo>
                <a:lnTo>
                  <a:pt x="895" y="0"/>
                </a:lnTo>
                <a:lnTo>
                  <a:pt x="894" y="0"/>
                </a:lnTo>
                <a:lnTo>
                  <a:pt x="893" y="0"/>
                </a:lnTo>
                <a:lnTo>
                  <a:pt x="892" y="0"/>
                </a:lnTo>
                <a:lnTo>
                  <a:pt x="891" y="0"/>
                </a:lnTo>
                <a:lnTo>
                  <a:pt x="889" y="0"/>
                </a:lnTo>
                <a:lnTo>
                  <a:pt x="887" y="1"/>
                </a:lnTo>
                <a:lnTo>
                  <a:pt x="887" y="1"/>
                </a:lnTo>
                <a:lnTo>
                  <a:pt x="886" y="1"/>
                </a:lnTo>
                <a:lnTo>
                  <a:pt x="886" y="1"/>
                </a:lnTo>
                <a:lnTo>
                  <a:pt x="886" y="1"/>
                </a:lnTo>
                <a:lnTo>
                  <a:pt x="10" y="362"/>
                </a:lnTo>
                <a:lnTo>
                  <a:pt x="5" y="365"/>
                </a:lnTo>
                <a:lnTo>
                  <a:pt x="2" y="368"/>
                </a:lnTo>
                <a:lnTo>
                  <a:pt x="1" y="372"/>
                </a:lnTo>
                <a:lnTo>
                  <a:pt x="0" y="376"/>
                </a:lnTo>
                <a:lnTo>
                  <a:pt x="1" y="381"/>
                </a:lnTo>
                <a:lnTo>
                  <a:pt x="2" y="384"/>
                </a:lnTo>
                <a:lnTo>
                  <a:pt x="5" y="388"/>
                </a:lnTo>
                <a:lnTo>
                  <a:pt x="10" y="390"/>
                </a:lnTo>
                <a:lnTo>
                  <a:pt x="336" y="521"/>
                </a:lnTo>
                <a:lnTo>
                  <a:pt x="336" y="812"/>
                </a:lnTo>
                <a:lnTo>
                  <a:pt x="336" y="817"/>
                </a:lnTo>
                <a:lnTo>
                  <a:pt x="338" y="821"/>
                </a:lnTo>
                <a:lnTo>
                  <a:pt x="342" y="825"/>
                </a:lnTo>
                <a:lnTo>
                  <a:pt x="346" y="827"/>
                </a:lnTo>
                <a:lnTo>
                  <a:pt x="348" y="827"/>
                </a:lnTo>
                <a:lnTo>
                  <a:pt x="351" y="827"/>
                </a:lnTo>
                <a:lnTo>
                  <a:pt x="354" y="827"/>
                </a:lnTo>
                <a:lnTo>
                  <a:pt x="357" y="826"/>
                </a:lnTo>
                <a:lnTo>
                  <a:pt x="360" y="823"/>
                </a:lnTo>
                <a:lnTo>
                  <a:pt x="363" y="820"/>
                </a:lnTo>
                <a:lnTo>
                  <a:pt x="492" y="605"/>
                </a:lnTo>
                <a:lnTo>
                  <a:pt x="729" y="730"/>
                </a:lnTo>
                <a:lnTo>
                  <a:pt x="732" y="732"/>
                </a:lnTo>
                <a:lnTo>
                  <a:pt x="736" y="732"/>
                </a:lnTo>
                <a:lnTo>
                  <a:pt x="739" y="732"/>
                </a:lnTo>
                <a:lnTo>
                  <a:pt x="742" y="731"/>
                </a:lnTo>
                <a:lnTo>
                  <a:pt x="745" y="729"/>
                </a:lnTo>
                <a:lnTo>
                  <a:pt x="747" y="727"/>
                </a:lnTo>
                <a:lnTo>
                  <a:pt x="749" y="724"/>
                </a:lnTo>
                <a:lnTo>
                  <a:pt x="751" y="721"/>
                </a:lnTo>
                <a:lnTo>
                  <a:pt x="906" y="18"/>
                </a:lnTo>
                <a:lnTo>
                  <a:pt x="906" y="17"/>
                </a:lnTo>
                <a:lnTo>
                  <a:pt x="906" y="17"/>
                </a:lnTo>
                <a:lnTo>
                  <a:pt x="907" y="16"/>
                </a:lnTo>
                <a:lnTo>
                  <a:pt x="907" y="15"/>
                </a:lnTo>
                <a:close/>
              </a:path>
            </a:pathLst>
          </a:custGeom>
          <a:solidFill>
            <a:schemeClr val="bg1"/>
          </a:solidFill>
          <a:ln>
            <a:noFill/>
          </a:ln>
          <a:effectLst>
            <a:outerShdw blurRad="50800" dist="38100" dir="5400000" algn="t"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a:p>
        </p:txBody>
      </p:sp>
      <p:grpSp>
        <p:nvGrpSpPr>
          <p:cNvPr id="69" name="Group 68">
            <a:extLst>
              <a:ext uri="{FF2B5EF4-FFF2-40B4-BE49-F238E27FC236}">
                <a16:creationId xmlns:a16="http://schemas.microsoft.com/office/drawing/2014/main" id="{39D2748B-A6BE-4159-A5A8-6EC820DCA0B5}"/>
              </a:ext>
            </a:extLst>
          </p:cNvPr>
          <p:cNvGrpSpPr/>
          <p:nvPr/>
        </p:nvGrpSpPr>
        <p:grpSpPr>
          <a:xfrm>
            <a:off x="711275" y="4143357"/>
            <a:ext cx="220663" cy="287338"/>
            <a:chOff x="11066463" y="1360488"/>
            <a:chExt cx="220663" cy="287338"/>
          </a:xfrm>
          <a:solidFill>
            <a:schemeClr val="bg1"/>
          </a:solidFill>
          <a:effectLst>
            <a:outerShdw blurRad="50800" dist="38100" dir="5400000" algn="t" rotWithShape="0">
              <a:prstClr val="black">
                <a:alpha val="20000"/>
              </a:prstClr>
            </a:outerShdw>
          </a:effectLst>
        </p:grpSpPr>
        <p:sp>
          <p:nvSpPr>
            <p:cNvPr id="70" name="Freeform 180">
              <a:extLst>
                <a:ext uri="{FF2B5EF4-FFF2-40B4-BE49-F238E27FC236}">
                  <a16:creationId xmlns:a16="http://schemas.microsoft.com/office/drawing/2014/main" id="{A29AD480-0776-46B3-97B5-2BD5C090C2FD}"/>
                </a:ext>
              </a:extLst>
            </p:cNvPr>
            <p:cNvSpPr>
              <a:spLocks noEditPoints="1"/>
            </p:cNvSpPr>
            <p:nvPr/>
          </p:nvSpPr>
          <p:spPr bwMode="auto">
            <a:xfrm>
              <a:off x="11066463" y="1360488"/>
              <a:ext cx="220663" cy="287338"/>
            </a:xfrm>
            <a:custGeom>
              <a:avLst/>
              <a:gdLst>
                <a:gd name="T0" fmla="*/ 30 w 691"/>
                <a:gd name="T1" fmla="*/ 871 h 901"/>
                <a:gd name="T2" fmla="*/ 30 w 691"/>
                <a:gd name="T3" fmla="*/ 30 h 901"/>
                <a:gd name="T4" fmla="*/ 421 w 691"/>
                <a:gd name="T5" fmla="*/ 30 h 901"/>
                <a:gd name="T6" fmla="*/ 421 w 691"/>
                <a:gd name="T7" fmla="*/ 254 h 901"/>
                <a:gd name="T8" fmla="*/ 421 w 691"/>
                <a:gd name="T9" fmla="*/ 258 h 901"/>
                <a:gd name="T10" fmla="*/ 422 w 691"/>
                <a:gd name="T11" fmla="*/ 261 h 901"/>
                <a:gd name="T12" fmla="*/ 423 w 691"/>
                <a:gd name="T13" fmla="*/ 263 h 901"/>
                <a:gd name="T14" fmla="*/ 425 w 691"/>
                <a:gd name="T15" fmla="*/ 265 h 901"/>
                <a:gd name="T16" fmla="*/ 427 w 691"/>
                <a:gd name="T17" fmla="*/ 267 h 901"/>
                <a:gd name="T18" fmla="*/ 429 w 691"/>
                <a:gd name="T19" fmla="*/ 268 h 901"/>
                <a:gd name="T20" fmla="*/ 432 w 691"/>
                <a:gd name="T21" fmla="*/ 269 h 901"/>
                <a:gd name="T22" fmla="*/ 436 w 691"/>
                <a:gd name="T23" fmla="*/ 269 h 901"/>
                <a:gd name="T24" fmla="*/ 660 w 691"/>
                <a:gd name="T25" fmla="*/ 269 h 901"/>
                <a:gd name="T26" fmla="*/ 660 w 691"/>
                <a:gd name="T27" fmla="*/ 871 h 901"/>
                <a:gd name="T28" fmla="*/ 30 w 691"/>
                <a:gd name="T29" fmla="*/ 871 h 901"/>
                <a:gd name="T30" fmla="*/ 450 w 691"/>
                <a:gd name="T31" fmla="*/ 52 h 901"/>
                <a:gd name="T32" fmla="*/ 640 w 691"/>
                <a:gd name="T33" fmla="*/ 239 h 901"/>
                <a:gd name="T34" fmla="*/ 450 w 691"/>
                <a:gd name="T35" fmla="*/ 239 h 901"/>
                <a:gd name="T36" fmla="*/ 450 w 691"/>
                <a:gd name="T37" fmla="*/ 52 h 901"/>
                <a:gd name="T38" fmla="*/ 686 w 691"/>
                <a:gd name="T39" fmla="*/ 244 h 901"/>
                <a:gd name="T40" fmla="*/ 446 w 691"/>
                <a:gd name="T41" fmla="*/ 4 h 901"/>
                <a:gd name="T42" fmla="*/ 444 w 691"/>
                <a:gd name="T43" fmla="*/ 2 h 901"/>
                <a:gd name="T44" fmla="*/ 441 w 691"/>
                <a:gd name="T45" fmla="*/ 1 h 901"/>
                <a:gd name="T46" fmla="*/ 439 w 691"/>
                <a:gd name="T47" fmla="*/ 0 h 901"/>
                <a:gd name="T48" fmla="*/ 436 w 691"/>
                <a:gd name="T49" fmla="*/ 0 h 901"/>
                <a:gd name="T50" fmla="*/ 15 w 691"/>
                <a:gd name="T51" fmla="*/ 0 h 901"/>
                <a:gd name="T52" fmla="*/ 12 w 691"/>
                <a:gd name="T53" fmla="*/ 0 h 901"/>
                <a:gd name="T54" fmla="*/ 9 w 691"/>
                <a:gd name="T55" fmla="*/ 1 h 901"/>
                <a:gd name="T56" fmla="*/ 6 w 691"/>
                <a:gd name="T57" fmla="*/ 2 h 901"/>
                <a:gd name="T58" fmla="*/ 4 w 691"/>
                <a:gd name="T59" fmla="*/ 4 h 901"/>
                <a:gd name="T60" fmla="*/ 2 w 691"/>
                <a:gd name="T61" fmla="*/ 6 h 901"/>
                <a:gd name="T62" fmla="*/ 1 w 691"/>
                <a:gd name="T63" fmla="*/ 9 h 901"/>
                <a:gd name="T64" fmla="*/ 0 w 691"/>
                <a:gd name="T65" fmla="*/ 11 h 901"/>
                <a:gd name="T66" fmla="*/ 0 w 691"/>
                <a:gd name="T67" fmla="*/ 15 h 901"/>
                <a:gd name="T68" fmla="*/ 0 w 691"/>
                <a:gd name="T69" fmla="*/ 886 h 901"/>
                <a:gd name="T70" fmla="*/ 0 w 691"/>
                <a:gd name="T71" fmla="*/ 889 h 901"/>
                <a:gd name="T72" fmla="*/ 1 w 691"/>
                <a:gd name="T73" fmla="*/ 891 h 901"/>
                <a:gd name="T74" fmla="*/ 2 w 691"/>
                <a:gd name="T75" fmla="*/ 894 h 901"/>
                <a:gd name="T76" fmla="*/ 4 w 691"/>
                <a:gd name="T77" fmla="*/ 897 h 901"/>
                <a:gd name="T78" fmla="*/ 6 w 691"/>
                <a:gd name="T79" fmla="*/ 898 h 901"/>
                <a:gd name="T80" fmla="*/ 9 w 691"/>
                <a:gd name="T81" fmla="*/ 900 h 901"/>
                <a:gd name="T82" fmla="*/ 12 w 691"/>
                <a:gd name="T83" fmla="*/ 900 h 901"/>
                <a:gd name="T84" fmla="*/ 15 w 691"/>
                <a:gd name="T85" fmla="*/ 901 h 901"/>
                <a:gd name="T86" fmla="*/ 676 w 691"/>
                <a:gd name="T87" fmla="*/ 901 h 901"/>
                <a:gd name="T88" fmla="*/ 678 w 691"/>
                <a:gd name="T89" fmla="*/ 900 h 901"/>
                <a:gd name="T90" fmla="*/ 682 w 691"/>
                <a:gd name="T91" fmla="*/ 900 h 901"/>
                <a:gd name="T92" fmla="*/ 684 w 691"/>
                <a:gd name="T93" fmla="*/ 898 h 901"/>
                <a:gd name="T94" fmla="*/ 686 w 691"/>
                <a:gd name="T95" fmla="*/ 897 h 901"/>
                <a:gd name="T96" fmla="*/ 688 w 691"/>
                <a:gd name="T97" fmla="*/ 894 h 901"/>
                <a:gd name="T98" fmla="*/ 689 w 691"/>
                <a:gd name="T99" fmla="*/ 891 h 901"/>
                <a:gd name="T100" fmla="*/ 690 w 691"/>
                <a:gd name="T101" fmla="*/ 889 h 901"/>
                <a:gd name="T102" fmla="*/ 691 w 691"/>
                <a:gd name="T103" fmla="*/ 886 h 901"/>
                <a:gd name="T104" fmla="*/ 691 w 691"/>
                <a:gd name="T105" fmla="*/ 254 h 901"/>
                <a:gd name="T106" fmla="*/ 689 w 691"/>
                <a:gd name="T107" fmla="*/ 249 h 901"/>
                <a:gd name="T108" fmla="*/ 686 w 691"/>
                <a:gd name="T109" fmla="*/ 244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91" h="901">
                  <a:moveTo>
                    <a:pt x="30" y="871"/>
                  </a:moveTo>
                  <a:lnTo>
                    <a:pt x="30" y="30"/>
                  </a:lnTo>
                  <a:lnTo>
                    <a:pt x="421" y="30"/>
                  </a:lnTo>
                  <a:lnTo>
                    <a:pt x="421" y="254"/>
                  </a:lnTo>
                  <a:lnTo>
                    <a:pt x="421" y="258"/>
                  </a:lnTo>
                  <a:lnTo>
                    <a:pt x="422" y="261"/>
                  </a:lnTo>
                  <a:lnTo>
                    <a:pt x="423" y="263"/>
                  </a:lnTo>
                  <a:lnTo>
                    <a:pt x="425" y="265"/>
                  </a:lnTo>
                  <a:lnTo>
                    <a:pt x="427" y="267"/>
                  </a:lnTo>
                  <a:lnTo>
                    <a:pt x="429" y="268"/>
                  </a:lnTo>
                  <a:lnTo>
                    <a:pt x="432" y="269"/>
                  </a:lnTo>
                  <a:lnTo>
                    <a:pt x="436" y="269"/>
                  </a:lnTo>
                  <a:lnTo>
                    <a:pt x="660" y="269"/>
                  </a:lnTo>
                  <a:lnTo>
                    <a:pt x="660" y="871"/>
                  </a:lnTo>
                  <a:lnTo>
                    <a:pt x="30" y="871"/>
                  </a:lnTo>
                  <a:close/>
                  <a:moveTo>
                    <a:pt x="450" y="52"/>
                  </a:moveTo>
                  <a:lnTo>
                    <a:pt x="640" y="239"/>
                  </a:lnTo>
                  <a:lnTo>
                    <a:pt x="450" y="239"/>
                  </a:lnTo>
                  <a:lnTo>
                    <a:pt x="450" y="52"/>
                  </a:lnTo>
                  <a:close/>
                  <a:moveTo>
                    <a:pt x="686" y="244"/>
                  </a:moveTo>
                  <a:lnTo>
                    <a:pt x="446" y="4"/>
                  </a:lnTo>
                  <a:lnTo>
                    <a:pt x="444" y="2"/>
                  </a:lnTo>
                  <a:lnTo>
                    <a:pt x="441" y="1"/>
                  </a:lnTo>
                  <a:lnTo>
                    <a:pt x="439" y="0"/>
                  </a:lnTo>
                  <a:lnTo>
                    <a:pt x="436" y="0"/>
                  </a:lnTo>
                  <a:lnTo>
                    <a:pt x="15" y="0"/>
                  </a:lnTo>
                  <a:lnTo>
                    <a:pt x="12" y="0"/>
                  </a:lnTo>
                  <a:lnTo>
                    <a:pt x="9" y="1"/>
                  </a:lnTo>
                  <a:lnTo>
                    <a:pt x="6" y="2"/>
                  </a:lnTo>
                  <a:lnTo>
                    <a:pt x="4" y="4"/>
                  </a:lnTo>
                  <a:lnTo>
                    <a:pt x="2" y="6"/>
                  </a:lnTo>
                  <a:lnTo>
                    <a:pt x="1" y="9"/>
                  </a:lnTo>
                  <a:lnTo>
                    <a:pt x="0" y="11"/>
                  </a:lnTo>
                  <a:lnTo>
                    <a:pt x="0" y="15"/>
                  </a:lnTo>
                  <a:lnTo>
                    <a:pt x="0" y="886"/>
                  </a:lnTo>
                  <a:lnTo>
                    <a:pt x="0" y="889"/>
                  </a:lnTo>
                  <a:lnTo>
                    <a:pt x="1" y="891"/>
                  </a:lnTo>
                  <a:lnTo>
                    <a:pt x="2" y="894"/>
                  </a:lnTo>
                  <a:lnTo>
                    <a:pt x="4" y="897"/>
                  </a:lnTo>
                  <a:lnTo>
                    <a:pt x="6" y="898"/>
                  </a:lnTo>
                  <a:lnTo>
                    <a:pt x="9" y="900"/>
                  </a:lnTo>
                  <a:lnTo>
                    <a:pt x="12" y="900"/>
                  </a:lnTo>
                  <a:lnTo>
                    <a:pt x="15" y="901"/>
                  </a:lnTo>
                  <a:lnTo>
                    <a:pt x="676" y="901"/>
                  </a:lnTo>
                  <a:lnTo>
                    <a:pt x="678" y="900"/>
                  </a:lnTo>
                  <a:lnTo>
                    <a:pt x="682" y="900"/>
                  </a:lnTo>
                  <a:lnTo>
                    <a:pt x="684" y="898"/>
                  </a:lnTo>
                  <a:lnTo>
                    <a:pt x="686" y="897"/>
                  </a:lnTo>
                  <a:lnTo>
                    <a:pt x="688" y="894"/>
                  </a:lnTo>
                  <a:lnTo>
                    <a:pt x="689" y="891"/>
                  </a:lnTo>
                  <a:lnTo>
                    <a:pt x="690" y="889"/>
                  </a:lnTo>
                  <a:lnTo>
                    <a:pt x="691" y="886"/>
                  </a:lnTo>
                  <a:lnTo>
                    <a:pt x="691" y="254"/>
                  </a:lnTo>
                  <a:lnTo>
                    <a:pt x="689" y="249"/>
                  </a:lnTo>
                  <a:lnTo>
                    <a:pt x="686" y="2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81">
              <a:extLst>
                <a:ext uri="{FF2B5EF4-FFF2-40B4-BE49-F238E27FC236}">
                  <a16:creationId xmlns:a16="http://schemas.microsoft.com/office/drawing/2014/main" id="{DEECE333-C409-4CEA-9FE2-44E0B5325545}"/>
                </a:ext>
              </a:extLst>
            </p:cNvPr>
            <p:cNvSpPr>
              <a:spLocks/>
            </p:cNvSpPr>
            <p:nvPr/>
          </p:nvSpPr>
          <p:spPr bwMode="auto">
            <a:xfrm>
              <a:off x="11180763" y="1474788"/>
              <a:ext cx="57150" cy="9525"/>
            </a:xfrm>
            <a:custGeom>
              <a:avLst/>
              <a:gdLst>
                <a:gd name="T0" fmla="*/ 167 w 182"/>
                <a:gd name="T1" fmla="*/ 0 h 31"/>
                <a:gd name="T2" fmla="*/ 15 w 182"/>
                <a:gd name="T3" fmla="*/ 0 h 31"/>
                <a:gd name="T4" fmla="*/ 13 w 182"/>
                <a:gd name="T5" fmla="*/ 1 h 31"/>
                <a:gd name="T6" fmla="*/ 10 w 182"/>
                <a:gd name="T7" fmla="*/ 2 h 31"/>
                <a:gd name="T8" fmla="*/ 8 w 182"/>
                <a:gd name="T9" fmla="*/ 3 h 31"/>
                <a:gd name="T10" fmla="*/ 5 w 182"/>
                <a:gd name="T11" fmla="*/ 6 h 31"/>
                <a:gd name="T12" fmla="*/ 4 w 182"/>
                <a:gd name="T13" fmla="*/ 8 h 31"/>
                <a:gd name="T14" fmla="*/ 1 w 182"/>
                <a:gd name="T15" fmla="*/ 10 h 31"/>
                <a:gd name="T16" fmla="*/ 1 w 182"/>
                <a:gd name="T17" fmla="*/ 13 h 31"/>
                <a:gd name="T18" fmla="*/ 0 w 182"/>
                <a:gd name="T19" fmla="*/ 15 h 31"/>
                <a:gd name="T20" fmla="*/ 1 w 182"/>
                <a:gd name="T21" fmla="*/ 20 h 31"/>
                <a:gd name="T22" fmla="*/ 1 w 182"/>
                <a:gd name="T23" fmla="*/ 22 h 31"/>
                <a:gd name="T24" fmla="*/ 4 w 182"/>
                <a:gd name="T25" fmla="*/ 25 h 31"/>
                <a:gd name="T26" fmla="*/ 5 w 182"/>
                <a:gd name="T27" fmla="*/ 27 h 31"/>
                <a:gd name="T28" fmla="*/ 8 w 182"/>
                <a:gd name="T29" fmla="*/ 28 h 31"/>
                <a:gd name="T30" fmla="*/ 10 w 182"/>
                <a:gd name="T31" fmla="*/ 30 h 31"/>
                <a:gd name="T32" fmla="*/ 13 w 182"/>
                <a:gd name="T33" fmla="*/ 30 h 31"/>
                <a:gd name="T34" fmla="*/ 15 w 182"/>
                <a:gd name="T35" fmla="*/ 31 h 31"/>
                <a:gd name="T36" fmla="*/ 167 w 182"/>
                <a:gd name="T37" fmla="*/ 31 h 31"/>
                <a:gd name="T38" fmla="*/ 171 w 182"/>
                <a:gd name="T39" fmla="*/ 30 h 31"/>
                <a:gd name="T40" fmla="*/ 173 w 182"/>
                <a:gd name="T41" fmla="*/ 30 h 31"/>
                <a:gd name="T42" fmla="*/ 176 w 182"/>
                <a:gd name="T43" fmla="*/ 28 h 31"/>
                <a:gd name="T44" fmla="*/ 178 w 182"/>
                <a:gd name="T45" fmla="*/ 27 h 31"/>
                <a:gd name="T46" fmla="*/ 180 w 182"/>
                <a:gd name="T47" fmla="*/ 25 h 31"/>
                <a:gd name="T48" fmla="*/ 181 w 182"/>
                <a:gd name="T49" fmla="*/ 22 h 31"/>
                <a:gd name="T50" fmla="*/ 182 w 182"/>
                <a:gd name="T51" fmla="*/ 20 h 31"/>
                <a:gd name="T52" fmla="*/ 182 w 182"/>
                <a:gd name="T53" fmla="*/ 15 h 31"/>
                <a:gd name="T54" fmla="*/ 182 w 182"/>
                <a:gd name="T55" fmla="*/ 13 h 31"/>
                <a:gd name="T56" fmla="*/ 181 w 182"/>
                <a:gd name="T57" fmla="*/ 10 h 31"/>
                <a:gd name="T58" fmla="*/ 180 w 182"/>
                <a:gd name="T59" fmla="*/ 8 h 31"/>
                <a:gd name="T60" fmla="*/ 178 w 182"/>
                <a:gd name="T61" fmla="*/ 6 h 31"/>
                <a:gd name="T62" fmla="*/ 176 w 182"/>
                <a:gd name="T63" fmla="*/ 3 h 31"/>
                <a:gd name="T64" fmla="*/ 173 w 182"/>
                <a:gd name="T65" fmla="*/ 2 h 31"/>
                <a:gd name="T66" fmla="*/ 171 w 182"/>
                <a:gd name="T67" fmla="*/ 1 h 31"/>
                <a:gd name="T68" fmla="*/ 167 w 182"/>
                <a:gd name="T6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31">
                  <a:moveTo>
                    <a:pt x="167" y="0"/>
                  </a:moveTo>
                  <a:lnTo>
                    <a:pt x="15" y="0"/>
                  </a:lnTo>
                  <a:lnTo>
                    <a:pt x="13" y="1"/>
                  </a:lnTo>
                  <a:lnTo>
                    <a:pt x="10" y="2"/>
                  </a:lnTo>
                  <a:lnTo>
                    <a:pt x="8" y="3"/>
                  </a:lnTo>
                  <a:lnTo>
                    <a:pt x="5" y="6"/>
                  </a:lnTo>
                  <a:lnTo>
                    <a:pt x="4" y="8"/>
                  </a:lnTo>
                  <a:lnTo>
                    <a:pt x="1" y="10"/>
                  </a:lnTo>
                  <a:lnTo>
                    <a:pt x="1" y="13"/>
                  </a:lnTo>
                  <a:lnTo>
                    <a:pt x="0" y="15"/>
                  </a:lnTo>
                  <a:lnTo>
                    <a:pt x="1" y="20"/>
                  </a:lnTo>
                  <a:lnTo>
                    <a:pt x="1" y="22"/>
                  </a:lnTo>
                  <a:lnTo>
                    <a:pt x="4" y="25"/>
                  </a:lnTo>
                  <a:lnTo>
                    <a:pt x="5" y="27"/>
                  </a:lnTo>
                  <a:lnTo>
                    <a:pt x="8" y="28"/>
                  </a:lnTo>
                  <a:lnTo>
                    <a:pt x="10" y="30"/>
                  </a:lnTo>
                  <a:lnTo>
                    <a:pt x="13" y="30"/>
                  </a:lnTo>
                  <a:lnTo>
                    <a:pt x="15" y="31"/>
                  </a:lnTo>
                  <a:lnTo>
                    <a:pt x="167" y="31"/>
                  </a:lnTo>
                  <a:lnTo>
                    <a:pt x="171" y="30"/>
                  </a:lnTo>
                  <a:lnTo>
                    <a:pt x="173" y="30"/>
                  </a:lnTo>
                  <a:lnTo>
                    <a:pt x="176" y="28"/>
                  </a:lnTo>
                  <a:lnTo>
                    <a:pt x="178" y="27"/>
                  </a:lnTo>
                  <a:lnTo>
                    <a:pt x="180" y="25"/>
                  </a:lnTo>
                  <a:lnTo>
                    <a:pt x="181" y="22"/>
                  </a:lnTo>
                  <a:lnTo>
                    <a:pt x="182" y="20"/>
                  </a:lnTo>
                  <a:lnTo>
                    <a:pt x="182" y="15"/>
                  </a:lnTo>
                  <a:lnTo>
                    <a:pt x="182" y="13"/>
                  </a:lnTo>
                  <a:lnTo>
                    <a:pt x="181" y="10"/>
                  </a:lnTo>
                  <a:lnTo>
                    <a:pt x="180" y="8"/>
                  </a:lnTo>
                  <a:lnTo>
                    <a:pt x="178" y="6"/>
                  </a:lnTo>
                  <a:lnTo>
                    <a:pt x="176" y="3"/>
                  </a:lnTo>
                  <a:lnTo>
                    <a:pt x="173" y="2"/>
                  </a:lnTo>
                  <a:lnTo>
                    <a:pt x="171" y="1"/>
                  </a:lnTo>
                  <a:lnTo>
                    <a:pt x="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182">
              <a:extLst>
                <a:ext uri="{FF2B5EF4-FFF2-40B4-BE49-F238E27FC236}">
                  <a16:creationId xmlns:a16="http://schemas.microsoft.com/office/drawing/2014/main" id="{6A62211F-2337-474E-98A3-F13ADD55CA73}"/>
                </a:ext>
              </a:extLst>
            </p:cNvPr>
            <p:cNvSpPr>
              <a:spLocks/>
            </p:cNvSpPr>
            <p:nvPr/>
          </p:nvSpPr>
          <p:spPr bwMode="auto">
            <a:xfrm>
              <a:off x="11180763" y="1522413"/>
              <a:ext cx="57150" cy="9525"/>
            </a:xfrm>
            <a:custGeom>
              <a:avLst/>
              <a:gdLst>
                <a:gd name="T0" fmla="*/ 167 w 182"/>
                <a:gd name="T1" fmla="*/ 0 h 30"/>
                <a:gd name="T2" fmla="*/ 15 w 182"/>
                <a:gd name="T3" fmla="*/ 0 h 30"/>
                <a:gd name="T4" fmla="*/ 13 w 182"/>
                <a:gd name="T5" fmla="*/ 0 h 30"/>
                <a:gd name="T6" fmla="*/ 10 w 182"/>
                <a:gd name="T7" fmla="*/ 1 h 30"/>
                <a:gd name="T8" fmla="*/ 8 w 182"/>
                <a:gd name="T9" fmla="*/ 2 h 30"/>
                <a:gd name="T10" fmla="*/ 5 w 182"/>
                <a:gd name="T11" fmla="*/ 4 h 30"/>
                <a:gd name="T12" fmla="*/ 4 w 182"/>
                <a:gd name="T13" fmla="*/ 7 h 30"/>
                <a:gd name="T14" fmla="*/ 1 w 182"/>
                <a:gd name="T15" fmla="*/ 10 h 30"/>
                <a:gd name="T16" fmla="*/ 1 w 182"/>
                <a:gd name="T17" fmla="*/ 12 h 30"/>
                <a:gd name="T18" fmla="*/ 0 w 182"/>
                <a:gd name="T19" fmla="*/ 15 h 30"/>
                <a:gd name="T20" fmla="*/ 1 w 182"/>
                <a:gd name="T21" fmla="*/ 18 h 30"/>
                <a:gd name="T22" fmla="*/ 1 w 182"/>
                <a:gd name="T23" fmla="*/ 22 h 30"/>
                <a:gd name="T24" fmla="*/ 4 w 182"/>
                <a:gd name="T25" fmla="*/ 24 h 30"/>
                <a:gd name="T26" fmla="*/ 5 w 182"/>
                <a:gd name="T27" fmla="*/ 26 h 30"/>
                <a:gd name="T28" fmla="*/ 8 w 182"/>
                <a:gd name="T29" fmla="*/ 28 h 30"/>
                <a:gd name="T30" fmla="*/ 10 w 182"/>
                <a:gd name="T31" fmla="*/ 29 h 30"/>
                <a:gd name="T32" fmla="*/ 13 w 182"/>
                <a:gd name="T33" fmla="*/ 30 h 30"/>
                <a:gd name="T34" fmla="*/ 15 w 182"/>
                <a:gd name="T35" fmla="*/ 30 h 30"/>
                <a:gd name="T36" fmla="*/ 167 w 182"/>
                <a:gd name="T37" fmla="*/ 30 h 30"/>
                <a:gd name="T38" fmla="*/ 171 w 182"/>
                <a:gd name="T39" fmla="*/ 30 h 30"/>
                <a:gd name="T40" fmla="*/ 173 w 182"/>
                <a:gd name="T41" fmla="*/ 29 h 30"/>
                <a:gd name="T42" fmla="*/ 176 w 182"/>
                <a:gd name="T43" fmla="*/ 28 h 30"/>
                <a:gd name="T44" fmla="*/ 178 w 182"/>
                <a:gd name="T45" fmla="*/ 26 h 30"/>
                <a:gd name="T46" fmla="*/ 180 w 182"/>
                <a:gd name="T47" fmla="*/ 24 h 30"/>
                <a:gd name="T48" fmla="*/ 181 w 182"/>
                <a:gd name="T49" fmla="*/ 22 h 30"/>
                <a:gd name="T50" fmla="*/ 182 w 182"/>
                <a:gd name="T51" fmla="*/ 18 h 30"/>
                <a:gd name="T52" fmla="*/ 182 w 182"/>
                <a:gd name="T53" fmla="*/ 15 h 30"/>
                <a:gd name="T54" fmla="*/ 182 w 182"/>
                <a:gd name="T55" fmla="*/ 12 h 30"/>
                <a:gd name="T56" fmla="*/ 181 w 182"/>
                <a:gd name="T57" fmla="*/ 10 h 30"/>
                <a:gd name="T58" fmla="*/ 180 w 182"/>
                <a:gd name="T59" fmla="*/ 7 h 30"/>
                <a:gd name="T60" fmla="*/ 178 w 182"/>
                <a:gd name="T61" fmla="*/ 4 h 30"/>
                <a:gd name="T62" fmla="*/ 176 w 182"/>
                <a:gd name="T63" fmla="*/ 2 h 30"/>
                <a:gd name="T64" fmla="*/ 173 w 182"/>
                <a:gd name="T65" fmla="*/ 1 h 30"/>
                <a:gd name="T66" fmla="*/ 171 w 182"/>
                <a:gd name="T67" fmla="*/ 0 h 30"/>
                <a:gd name="T68" fmla="*/ 167 w 182"/>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30">
                  <a:moveTo>
                    <a:pt x="167" y="0"/>
                  </a:moveTo>
                  <a:lnTo>
                    <a:pt x="15" y="0"/>
                  </a:lnTo>
                  <a:lnTo>
                    <a:pt x="13" y="0"/>
                  </a:lnTo>
                  <a:lnTo>
                    <a:pt x="10" y="1"/>
                  </a:lnTo>
                  <a:lnTo>
                    <a:pt x="8" y="2"/>
                  </a:lnTo>
                  <a:lnTo>
                    <a:pt x="5" y="4"/>
                  </a:lnTo>
                  <a:lnTo>
                    <a:pt x="4" y="7"/>
                  </a:lnTo>
                  <a:lnTo>
                    <a:pt x="1" y="10"/>
                  </a:lnTo>
                  <a:lnTo>
                    <a:pt x="1" y="12"/>
                  </a:lnTo>
                  <a:lnTo>
                    <a:pt x="0" y="15"/>
                  </a:lnTo>
                  <a:lnTo>
                    <a:pt x="1" y="18"/>
                  </a:lnTo>
                  <a:lnTo>
                    <a:pt x="1" y="22"/>
                  </a:lnTo>
                  <a:lnTo>
                    <a:pt x="4" y="24"/>
                  </a:lnTo>
                  <a:lnTo>
                    <a:pt x="5" y="26"/>
                  </a:lnTo>
                  <a:lnTo>
                    <a:pt x="8" y="28"/>
                  </a:lnTo>
                  <a:lnTo>
                    <a:pt x="10" y="29"/>
                  </a:lnTo>
                  <a:lnTo>
                    <a:pt x="13" y="30"/>
                  </a:lnTo>
                  <a:lnTo>
                    <a:pt x="15" y="30"/>
                  </a:lnTo>
                  <a:lnTo>
                    <a:pt x="167" y="30"/>
                  </a:lnTo>
                  <a:lnTo>
                    <a:pt x="171" y="30"/>
                  </a:lnTo>
                  <a:lnTo>
                    <a:pt x="173" y="29"/>
                  </a:lnTo>
                  <a:lnTo>
                    <a:pt x="176" y="28"/>
                  </a:lnTo>
                  <a:lnTo>
                    <a:pt x="178" y="26"/>
                  </a:lnTo>
                  <a:lnTo>
                    <a:pt x="180" y="24"/>
                  </a:lnTo>
                  <a:lnTo>
                    <a:pt x="181" y="22"/>
                  </a:lnTo>
                  <a:lnTo>
                    <a:pt x="182" y="18"/>
                  </a:lnTo>
                  <a:lnTo>
                    <a:pt x="182" y="15"/>
                  </a:lnTo>
                  <a:lnTo>
                    <a:pt x="182" y="12"/>
                  </a:lnTo>
                  <a:lnTo>
                    <a:pt x="181" y="10"/>
                  </a:lnTo>
                  <a:lnTo>
                    <a:pt x="180" y="7"/>
                  </a:lnTo>
                  <a:lnTo>
                    <a:pt x="178" y="4"/>
                  </a:lnTo>
                  <a:lnTo>
                    <a:pt x="176" y="2"/>
                  </a:lnTo>
                  <a:lnTo>
                    <a:pt x="173" y="1"/>
                  </a:lnTo>
                  <a:lnTo>
                    <a:pt x="171" y="0"/>
                  </a:lnTo>
                  <a:lnTo>
                    <a:pt x="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83">
              <a:extLst>
                <a:ext uri="{FF2B5EF4-FFF2-40B4-BE49-F238E27FC236}">
                  <a16:creationId xmlns:a16="http://schemas.microsoft.com/office/drawing/2014/main" id="{67F3AA76-2022-4F93-8B47-5535D2B84DD5}"/>
                </a:ext>
              </a:extLst>
            </p:cNvPr>
            <p:cNvSpPr>
              <a:spLocks/>
            </p:cNvSpPr>
            <p:nvPr/>
          </p:nvSpPr>
          <p:spPr bwMode="auto">
            <a:xfrm>
              <a:off x="11180763" y="1579563"/>
              <a:ext cx="57150" cy="9525"/>
            </a:xfrm>
            <a:custGeom>
              <a:avLst/>
              <a:gdLst>
                <a:gd name="T0" fmla="*/ 167 w 182"/>
                <a:gd name="T1" fmla="*/ 0 h 30"/>
                <a:gd name="T2" fmla="*/ 15 w 182"/>
                <a:gd name="T3" fmla="*/ 0 h 30"/>
                <a:gd name="T4" fmla="*/ 13 w 182"/>
                <a:gd name="T5" fmla="*/ 1 h 30"/>
                <a:gd name="T6" fmla="*/ 10 w 182"/>
                <a:gd name="T7" fmla="*/ 1 h 30"/>
                <a:gd name="T8" fmla="*/ 8 w 182"/>
                <a:gd name="T9" fmla="*/ 3 h 30"/>
                <a:gd name="T10" fmla="*/ 5 w 182"/>
                <a:gd name="T11" fmla="*/ 5 h 30"/>
                <a:gd name="T12" fmla="*/ 4 w 182"/>
                <a:gd name="T13" fmla="*/ 7 h 30"/>
                <a:gd name="T14" fmla="*/ 1 w 182"/>
                <a:gd name="T15" fmla="*/ 10 h 30"/>
                <a:gd name="T16" fmla="*/ 1 w 182"/>
                <a:gd name="T17" fmla="*/ 13 h 30"/>
                <a:gd name="T18" fmla="*/ 0 w 182"/>
                <a:gd name="T19" fmla="*/ 15 h 30"/>
                <a:gd name="T20" fmla="*/ 1 w 182"/>
                <a:gd name="T21" fmla="*/ 18 h 30"/>
                <a:gd name="T22" fmla="*/ 1 w 182"/>
                <a:gd name="T23" fmla="*/ 21 h 30"/>
                <a:gd name="T24" fmla="*/ 4 w 182"/>
                <a:gd name="T25" fmla="*/ 24 h 30"/>
                <a:gd name="T26" fmla="*/ 5 w 182"/>
                <a:gd name="T27" fmla="*/ 26 h 30"/>
                <a:gd name="T28" fmla="*/ 8 w 182"/>
                <a:gd name="T29" fmla="*/ 28 h 30"/>
                <a:gd name="T30" fmla="*/ 10 w 182"/>
                <a:gd name="T31" fmla="*/ 29 h 30"/>
                <a:gd name="T32" fmla="*/ 13 w 182"/>
                <a:gd name="T33" fmla="*/ 30 h 30"/>
                <a:gd name="T34" fmla="*/ 15 w 182"/>
                <a:gd name="T35" fmla="*/ 30 h 30"/>
                <a:gd name="T36" fmla="*/ 167 w 182"/>
                <a:gd name="T37" fmla="*/ 30 h 30"/>
                <a:gd name="T38" fmla="*/ 171 w 182"/>
                <a:gd name="T39" fmla="*/ 30 h 30"/>
                <a:gd name="T40" fmla="*/ 173 w 182"/>
                <a:gd name="T41" fmla="*/ 29 h 30"/>
                <a:gd name="T42" fmla="*/ 176 w 182"/>
                <a:gd name="T43" fmla="*/ 28 h 30"/>
                <a:gd name="T44" fmla="*/ 178 w 182"/>
                <a:gd name="T45" fmla="*/ 26 h 30"/>
                <a:gd name="T46" fmla="*/ 180 w 182"/>
                <a:gd name="T47" fmla="*/ 24 h 30"/>
                <a:gd name="T48" fmla="*/ 181 w 182"/>
                <a:gd name="T49" fmla="*/ 21 h 30"/>
                <a:gd name="T50" fmla="*/ 182 w 182"/>
                <a:gd name="T51" fmla="*/ 18 h 30"/>
                <a:gd name="T52" fmla="*/ 182 w 182"/>
                <a:gd name="T53" fmla="*/ 15 h 30"/>
                <a:gd name="T54" fmla="*/ 182 w 182"/>
                <a:gd name="T55" fmla="*/ 13 h 30"/>
                <a:gd name="T56" fmla="*/ 181 w 182"/>
                <a:gd name="T57" fmla="*/ 10 h 30"/>
                <a:gd name="T58" fmla="*/ 180 w 182"/>
                <a:gd name="T59" fmla="*/ 7 h 30"/>
                <a:gd name="T60" fmla="*/ 178 w 182"/>
                <a:gd name="T61" fmla="*/ 5 h 30"/>
                <a:gd name="T62" fmla="*/ 176 w 182"/>
                <a:gd name="T63" fmla="*/ 3 h 30"/>
                <a:gd name="T64" fmla="*/ 173 w 182"/>
                <a:gd name="T65" fmla="*/ 1 h 30"/>
                <a:gd name="T66" fmla="*/ 171 w 182"/>
                <a:gd name="T67" fmla="*/ 1 h 30"/>
                <a:gd name="T68" fmla="*/ 167 w 182"/>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30">
                  <a:moveTo>
                    <a:pt x="167" y="0"/>
                  </a:moveTo>
                  <a:lnTo>
                    <a:pt x="15" y="0"/>
                  </a:lnTo>
                  <a:lnTo>
                    <a:pt x="13" y="1"/>
                  </a:lnTo>
                  <a:lnTo>
                    <a:pt x="10" y="1"/>
                  </a:lnTo>
                  <a:lnTo>
                    <a:pt x="8" y="3"/>
                  </a:lnTo>
                  <a:lnTo>
                    <a:pt x="5" y="5"/>
                  </a:lnTo>
                  <a:lnTo>
                    <a:pt x="4" y="7"/>
                  </a:lnTo>
                  <a:lnTo>
                    <a:pt x="1" y="10"/>
                  </a:lnTo>
                  <a:lnTo>
                    <a:pt x="1" y="13"/>
                  </a:lnTo>
                  <a:lnTo>
                    <a:pt x="0" y="15"/>
                  </a:lnTo>
                  <a:lnTo>
                    <a:pt x="1" y="18"/>
                  </a:lnTo>
                  <a:lnTo>
                    <a:pt x="1" y="21"/>
                  </a:lnTo>
                  <a:lnTo>
                    <a:pt x="4" y="24"/>
                  </a:lnTo>
                  <a:lnTo>
                    <a:pt x="5" y="26"/>
                  </a:lnTo>
                  <a:lnTo>
                    <a:pt x="8" y="28"/>
                  </a:lnTo>
                  <a:lnTo>
                    <a:pt x="10" y="29"/>
                  </a:lnTo>
                  <a:lnTo>
                    <a:pt x="13" y="30"/>
                  </a:lnTo>
                  <a:lnTo>
                    <a:pt x="15" y="30"/>
                  </a:lnTo>
                  <a:lnTo>
                    <a:pt x="167" y="30"/>
                  </a:lnTo>
                  <a:lnTo>
                    <a:pt x="171" y="30"/>
                  </a:lnTo>
                  <a:lnTo>
                    <a:pt x="173" y="29"/>
                  </a:lnTo>
                  <a:lnTo>
                    <a:pt x="176" y="28"/>
                  </a:lnTo>
                  <a:lnTo>
                    <a:pt x="178" y="26"/>
                  </a:lnTo>
                  <a:lnTo>
                    <a:pt x="180" y="24"/>
                  </a:lnTo>
                  <a:lnTo>
                    <a:pt x="181" y="21"/>
                  </a:lnTo>
                  <a:lnTo>
                    <a:pt x="182" y="18"/>
                  </a:lnTo>
                  <a:lnTo>
                    <a:pt x="182" y="15"/>
                  </a:lnTo>
                  <a:lnTo>
                    <a:pt x="182" y="13"/>
                  </a:lnTo>
                  <a:lnTo>
                    <a:pt x="181" y="10"/>
                  </a:lnTo>
                  <a:lnTo>
                    <a:pt x="180" y="7"/>
                  </a:lnTo>
                  <a:lnTo>
                    <a:pt x="178" y="5"/>
                  </a:lnTo>
                  <a:lnTo>
                    <a:pt x="176" y="3"/>
                  </a:lnTo>
                  <a:lnTo>
                    <a:pt x="173" y="1"/>
                  </a:lnTo>
                  <a:lnTo>
                    <a:pt x="171" y="1"/>
                  </a:lnTo>
                  <a:lnTo>
                    <a:pt x="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184">
              <a:extLst>
                <a:ext uri="{FF2B5EF4-FFF2-40B4-BE49-F238E27FC236}">
                  <a16:creationId xmlns:a16="http://schemas.microsoft.com/office/drawing/2014/main" id="{74AD6DF0-E832-4776-B855-368878BB6D59}"/>
                </a:ext>
              </a:extLst>
            </p:cNvPr>
            <p:cNvSpPr>
              <a:spLocks/>
            </p:cNvSpPr>
            <p:nvPr/>
          </p:nvSpPr>
          <p:spPr bwMode="auto">
            <a:xfrm>
              <a:off x="11109325" y="1450976"/>
              <a:ext cx="57150" cy="39688"/>
            </a:xfrm>
            <a:custGeom>
              <a:avLst/>
              <a:gdLst>
                <a:gd name="T0" fmla="*/ 156 w 181"/>
                <a:gd name="T1" fmla="*/ 4 h 126"/>
                <a:gd name="T2" fmla="*/ 71 w 181"/>
                <a:gd name="T3" fmla="*/ 88 h 126"/>
                <a:gd name="T4" fmla="*/ 25 w 181"/>
                <a:gd name="T5" fmla="*/ 43 h 126"/>
                <a:gd name="T6" fmla="*/ 23 w 181"/>
                <a:gd name="T7" fmla="*/ 41 h 126"/>
                <a:gd name="T8" fmla="*/ 20 w 181"/>
                <a:gd name="T9" fmla="*/ 39 h 126"/>
                <a:gd name="T10" fmla="*/ 18 w 181"/>
                <a:gd name="T11" fmla="*/ 39 h 126"/>
                <a:gd name="T12" fmla="*/ 15 w 181"/>
                <a:gd name="T13" fmla="*/ 38 h 126"/>
                <a:gd name="T14" fmla="*/ 11 w 181"/>
                <a:gd name="T15" fmla="*/ 39 h 126"/>
                <a:gd name="T16" fmla="*/ 9 w 181"/>
                <a:gd name="T17" fmla="*/ 39 h 126"/>
                <a:gd name="T18" fmla="*/ 6 w 181"/>
                <a:gd name="T19" fmla="*/ 41 h 126"/>
                <a:gd name="T20" fmla="*/ 4 w 181"/>
                <a:gd name="T21" fmla="*/ 43 h 126"/>
                <a:gd name="T22" fmla="*/ 2 w 181"/>
                <a:gd name="T23" fmla="*/ 45 h 126"/>
                <a:gd name="T24" fmla="*/ 1 w 181"/>
                <a:gd name="T25" fmla="*/ 47 h 126"/>
                <a:gd name="T26" fmla="*/ 0 w 181"/>
                <a:gd name="T27" fmla="*/ 51 h 126"/>
                <a:gd name="T28" fmla="*/ 0 w 181"/>
                <a:gd name="T29" fmla="*/ 53 h 126"/>
                <a:gd name="T30" fmla="*/ 0 w 181"/>
                <a:gd name="T31" fmla="*/ 56 h 126"/>
                <a:gd name="T32" fmla="*/ 1 w 181"/>
                <a:gd name="T33" fmla="*/ 59 h 126"/>
                <a:gd name="T34" fmla="*/ 2 w 181"/>
                <a:gd name="T35" fmla="*/ 61 h 126"/>
                <a:gd name="T36" fmla="*/ 4 w 181"/>
                <a:gd name="T37" fmla="*/ 63 h 126"/>
                <a:gd name="T38" fmla="*/ 61 w 181"/>
                <a:gd name="T39" fmla="*/ 121 h 126"/>
                <a:gd name="T40" fmla="*/ 63 w 181"/>
                <a:gd name="T41" fmla="*/ 122 h 126"/>
                <a:gd name="T42" fmla="*/ 66 w 181"/>
                <a:gd name="T43" fmla="*/ 124 h 126"/>
                <a:gd name="T44" fmla="*/ 68 w 181"/>
                <a:gd name="T45" fmla="*/ 126 h 126"/>
                <a:gd name="T46" fmla="*/ 71 w 181"/>
                <a:gd name="T47" fmla="*/ 126 h 126"/>
                <a:gd name="T48" fmla="*/ 74 w 181"/>
                <a:gd name="T49" fmla="*/ 126 h 126"/>
                <a:gd name="T50" fmla="*/ 77 w 181"/>
                <a:gd name="T51" fmla="*/ 124 h 126"/>
                <a:gd name="T52" fmla="*/ 80 w 181"/>
                <a:gd name="T53" fmla="*/ 122 h 126"/>
                <a:gd name="T54" fmla="*/ 82 w 181"/>
                <a:gd name="T55" fmla="*/ 121 h 126"/>
                <a:gd name="T56" fmla="*/ 176 w 181"/>
                <a:gd name="T57" fmla="*/ 26 h 126"/>
                <a:gd name="T58" fmla="*/ 178 w 181"/>
                <a:gd name="T59" fmla="*/ 24 h 126"/>
                <a:gd name="T60" fmla="*/ 180 w 181"/>
                <a:gd name="T61" fmla="*/ 21 h 126"/>
                <a:gd name="T62" fmla="*/ 180 w 181"/>
                <a:gd name="T63" fmla="*/ 17 h 126"/>
                <a:gd name="T64" fmla="*/ 181 w 181"/>
                <a:gd name="T65" fmla="*/ 15 h 126"/>
                <a:gd name="T66" fmla="*/ 180 w 181"/>
                <a:gd name="T67" fmla="*/ 12 h 126"/>
                <a:gd name="T68" fmla="*/ 180 w 181"/>
                <a:gd name="T69" fmla="*/ 9 h 126"/>
                <a:gd name="T70" fmla="*/ 178 w 181"/>
                <a:gd name="T71" fmla="*/ 6 h 126"/>
                <a:gd name="T72" fmla="*/ 176 w 181"/>
                <a:gd name="T73" fmla="*/ 4 h 126"/>
                <a:gd name="T74" fmla="*/ 172 w 181"/>
                <a:gd name="T75" fmla="*/ 1 h 126"/>
                <a:gd name="T76" fmla="*/ 166 w 181"/>
                <a:gd name="T77" fmla="*/ 0 h 126"/>
                <a:gd name="T78" fmla="*/ 160 w 181"/>
                <a:gd name="T79" fmla="*/ 1 h 126"/>
                <a:gd name="T80" fmla="*/ 156 w 181"/>
                <a:gd name="T81" fmla="*/ 4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1" h="126">
                  <a:moveTo>
                    <a:pt x="156" y="4"/>
                  </a:moveTo>
                  <a:lnTo>
                    <a:pt x="71" y="88"/>
                  </a:lnTo>
                  <a:lnTo>
                    <a:pt x="25" y="43"/>
                  </a:lnTo>
                  <a:lnTo>
                    <a:pt x="23" y="41"/>
                  </a:lnTo>
                  <a:lnTo>
                    <a:pt x="20" y="39"/>
                  </a:lnTo>
                  <a:lnTo>
                    <a:pt x="18" y="39"/>
                  </a:lnTo>
                  <a:lnTo>
                    <a:pt x="15" y="38"/>
                  </a:lnTo>
                  <a:lnTo>
                    <a:pt x="11" y="39"/>
                  </a:lnTo>
                  <a:lnTo>
                    <a:pt x="9" y="39"/>
                  </a:lnTo>
                  <a:lnTo>
                    <a:pt x="6" y="41"/>
                  </a:lnTo>
                  <a:lnTo>
                    <a:pt x="4" y="43"/>
                  </a:lnTo>
                  <a:lnTo>
                    <a:pt x="2" y="45"/>
                  </a:lnTo>
                  <a:lnTo>
                    <a:pt x="1" y="47"/>
                  </a:lnTo>
                  <a:lnTo>
                    <a:pt x="0" y="51"/>
                  </a:lnTo>
                  <a:lnTo>
                    <a:pt x="0" y="53"/>
                  </a:lnTo>
                  <a:lnTo>
                    <a:pt x="0" y="56"/>
                  </a:lnTo>
                  <a:lnTo>
                    <a:pt x="1" y="59"/>
                  </a:lnTo>
                  <a:lnTo>
                    <a:pt x="2" y="61"/>
                  </a:lnTo>
                  <a:lnTo>
                    <a:pt x="4" y="63"/>
                  </a:lnTo>
                  <a:lnTo>
                    <a:pt x="61" y="121"/>
                  </a:lnTo>
                  <a:lnTo>
                    <a:pt x="63" y="122"/>
                  </a:lnTo>
                  <a:lnTo>
                    <a:pt x="66" y="124"/>
                  </a:lnTo>
                  <a:lnTo>
                    <a:pt x="68" y="126"/>
                  </a:lnTo>
                  <a:lnTo>
                    <a:pt x="71" y="126"/>
                  </a:lnTo>
                  <a:lnTo>
                    <a:pt x="74" y="126"/>
                  </a:lnTo>
                  <a:lnTo>
                    <a:pt x="77" y="124"/>
                  </a:lnTo>
                  <a:lnTo>
                    <a:pt x="80" y="122"/>
                  </a:lnTo>
                  <a:lnTo>
                    <a:pt x="82" y="121"/>
                  </a:lnTo>
                  <a:lnTo>
                    <a:pt x="176" y="26"/>
                  </a:lnTo>
                  <a:lnTo>
                    <a:pt x="178" y="24"/>
                  </a:lnTo>
                  <a:lnTo>
                    <a:pt x="180" y="21"/>
                  </a:lnTo>
                  <a:lnTo>
                    <a:pt x="180" y="17"/>
                  </a:lnTo>
                  <a:lnTo>
                    <a:pt x="181" y="15"/>
                  </a:lnTo>
                  <a:lnTo>
                    <a:pt x="180" y="12"/>
                  </a:lnTo>
                  <a:lnTo>
                    <a:pt x="180" y="9"/>
                  </a:lnTo>
                  <a:lnTo>
                    <a:pt x="178" y="6"/>
                  </a:lnTo>
                  <a:lnTo>
                    <a:pt x="176" y="4"/>
                  </a:lnTo>
                  <a:lnTo>
                    <a:pt x="172" y="1"/>
                  </a:lnTo>
                  <a:lnTo>
                    <a:pt x="166" y="0"/>
                  </a:lnTo>
                  <a:lnTo>
                    <a:pt x="160" y="1"/>
                  </a:lnTo>
                  <a:lnTo>
                    <a:pt x="15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185">
              <a:extLst>
                <a:ext uri="{FF2B5EF4-FFF2-40B4-BE49-F238E27FC236}">
                  <a16:creationId xmlns:a16="http://schemas.microsoft.com/office/drawing/2014/main" id="{BDC5D1A9-F5F0-49D8-A3E5-358FF393CB1A}"/>
                </a:ext>
              </a:extLst>
            </p:cNvPr>
            <p:cNvSpPr>
              <a:spLocks/>
            </p:cNvSpPr>
            <p:nvPr/>
          </p:nvSpPr>
          <p:spPr bwMode="auto">
            <a:xfrm>
              <a:off x="11109325" y="1504951"/>
              <a:ext cx="57150" cy="39688"/>
            </a:xfrm>
            <a:custGeom>
              <a:avLst/>
              <a:gdLst>
                <a:gd name="T0" fmla="*/ 156 w 181"/>
                <a:gd name="T1" fmla="*/ 4 h 124"/>
                <a:gd name="T2" fmla="*/ 71 w 181"/>
                <a:gd name="T3" fmla="*/ 88 h 124"/>
                <a:gd name="T4" fmla="*/ 25 w 181"/>
                <a:gd name="T5" fmla="*/ 41 h 124"/>
                <a:gd name="T6" fmla="*/ 23 w 181"/>
                <a:gd name="T7" fmla="*/ 39 h 124"/>
                <a:gd name="T8" fmla="*/ 20 w 181"/>
                <a:gd name="T9" fmla="*/ 38 h 124"/>
                <a:gd name="T10" fmla="*/ 18 w 181"/>
                <a:gd name="T11" fmla="*/ 37 h 124"/>
                <a:gd name="T12" fmla="*/ 15 w 181"/>
                <a:gd name="T13" fmla="*/ 37 h 124"/>
                <a:gd name="T14" fmla="*/ 11 w 181"/>
                <a:gd name="T15" fmla="*/ 37 h 124"/>
                <a:gd name="T16" fmla="*/ 9 w 181"/>
                <a:gd name="T17" fmla="*/ 38 h 124"/>
                <a:gd name="T18" fmla="*/ 6 w 181"/>
                <a:gd name="T19" fmla="*/ 39 h 124"/>
                <a:gd name="T20" fmla="*/ 4 w 181"/>
                <a:gd name="T21" fmla="*/ 41 h 124"/>
                <a:gd name="T22" fmla="*/ 2 w 181"/>
                <a:gd name="T23" fmla="*/ 43 h 124"/>
                <a:gd name="T24" fmla="*/ 1 w 181"/>
                <a:gd name="T25" fmla="*/ 47 h 124"/>
                <a:gd name="T26" fmla="*/ 0 w 181"/>
                <a:gd name="T27" fmla="*/ 49 h 124"/>
                <a:gd name="T28" fmla="*/ 0 w 181"/>
                <a:gd name="T29" fmla="*/ 52 h 124"/>
                <a:gd name="T30" fmla="*/ 0 w 181"/>
                <a:gd name="T31" fmla="*/ 55 h 124"/>
                <a:gd name="T32" fmla="*/ 1 w 181"/>
                <a:gd name="T33" fmla="*/ 57 h 124"/>
                <a:gd name="T34" fmla="*/ 2 w 181"/>
                <a:gd name="T35" fmla="*/ 61 h 124"/>
                <a:gd name="T36" fmla="*/ 4 w 181"/>
                <a:gd name="T37" fmla="*/ 63 h 124"/>
                <a:gd name="T38" fmla="*/ 61 w 181"/>
                <a:gd name="T39" fmla="*/ 119 h 124"/>
                <a:gd name="T40" fmla="*/ 63 w 181"/>
                <a:gd name="T41" fmla="*/ 122 h 124"/>
                <a:gd name="T42" fmla="*/ 66 w 181"/>
                <a:gd name="T43" fmla="*/ 123 h 124"/>
                <a:gd name="T44" fmla="*/ 68 w 181"/>
                <a:gd name="T45" fmla="*/ 124 h 124"/>
                <a:gd name="T46" fmla="*/ 71 w 181"/>
                <a:gd name="T47" fmla="*/ 124 h 124"/>
                <a:gd name="T48" fmla="*/ 74 w 181"/>
                <a:gd name="T49" fmla="*/ 124 h 124"/>
                <a:gd name="T50" fmla="*/ 77 w 181"/>
                <a:gd name="T51" fmla="*/ 123 h 124"/>
                <a:gd name="T52" fmla="*/ 80 w 181"/>
                <a:gd name="T53" fmla="*/ 122 h 124"/>
                <a:gd name="T54" fmla="*/ 82 w 181"/>
                <a:gd name="T55" fmla="*/ 119 h 124"/>
                <a:gd name="T56" fmla="*/ 176 w 181"/>
                <a:gd name="T57" fmla="*/ 25 h 124"/>
                <a:gd name="T58" fmla="*/ 178 w 181"/>
                <a:gd name="T59" fmla="*/ 23 h 124"/>
                <a:gd name="T60" fmla="*/ 180 w 181"/>
                <a:gd name="T61" fmla="*/ 20 h 124"/>
                <a:gd name="T62" fmla="*/ 180 w 181"/>
                <a:gd name="T63" fmla="*/ 18 h 124"/>
                <a:gd name="T64" fmla="*/ 181 w 181"/>
                <a:gd name="T65" fmla="*/ 14 h 124"/>
                <a:gd name="T66" fmla="*/ 180 w 181"/>
                <a:gd name="T67" fmla="*/ 11 h 124"/>
                <a:gd name="T68" fmla="*/ 180 w 181"/>
                <a:gd name="T69" fmla="*/ 9 h 124"/>
                <a:gd name="T70" fmla="*/ 178 w 181"/>
                <a:gd name="T71" fmla="*/ 6 h 124"/>
                <a:gd name="T72" fmla="*/ 176 w 181"/>
                <a:gd name="T73" fmla="*/ 4 h 124"/>
                <a:gd name="T74" fmla="*/ 174 w 181"/>
                <a:gd name="T75" fmla="*/ 2 h 124"/>
                <a:gd name="T76" fmla="*/ 172 w 181"/>
                <a:gd name="T77" fmla="*/ 1 h 124"/>
                <a:gd name="T78" fmla="*/ 169 w 181"/>
                <a:gd name="T79" fmla="*/ 0 h 124"/>
                <a:gd name="T80" fmla="*/ 166 w 181"/>
                <a:gd name="T81" fmla="*/ 0 h 124"/>
                <a:gd name="T82" fmla="*/ 163 w 181"/>
                <a:gd name="T83" fmla="*/ 0 h 124"/>
                <a:gd name="T84" fmla="*/ 160 w 181"/>
                <a:gd name="T85" fmla="*/ 1 h 124"/>
                <a:gd name="T86" fmla="*/ 158 w 181"/>
                <a:gd name="T87" fmla="*/ 2 h 124"/>
                <a:gd name="T88" fmla="*/ 156 w 181"/>
                <a:gd name="T89" fmla="*/ 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1" h="124">
                  <a:moveTo>
                    <a:pt x="156" y="4"/>
                  </a:moveTo>
                  <a:lnTo>
                    <a:pt x="71" y="88"/>
                  </a:lnTo>
                  <a:lnTo>
                    <a:pt x="25" y="41"/>
                  </a:lnTo>
                  <a:lnTo>
                    <a:pt x="23" y="39"/>
                  </a:lnTo>
                  <a:lnTo>
                    <a:pt x="20" y="38"/>
                  </a:lnTo>
                  <a:lnTo>
                    <a:pt x="18" y="37"/>
                  </a:lnTo>
                  <a:lnTo>
                    <a:pt x="15" y="37"/>
                  </a:lnTo>
                  <a:lnTo>
                    <a:pt x="11" y="37"/>
                  </a:lnTo>
                  <a:lnTo>
                    <a:pt x="9" y="38"/>
                  </a:lnTo>
                  <a:lnTo>
                    <a:pt x="6" y="39"/>
                  </a:lnTo>
                  <a:lnTo>
                    <a:pt x="4" y="41"/>
                  </a:lnTo>
                  <a:lnTo>
                    <a:pt x="2" y="43"/>
                  </a:lnTo>
                  <a:lnTo>
                    <a:pt x="1" y="47"/>
                  </a:lnTo>
                  <a:lnTo>
                    <a:pt x="0" y="49"/>
                  </a:lnTo>
                  <a:lnTo>
                    <a:pt x="0" y="52"/>
                  </a:lnTo>
                  <a:lnTo>
                    <a:pt x="0" y="55"/>
                  </a:lnTo>
                  <a:lnTo>
                    <a:pt x="1" y="57"/>
                  </a:lnTo>
                  <a:lnTo>
                    <a:pt x="2" y="61"/>
                  </a:lnTo>
                  <a:lnTo>
                    <a:pt x="4" y="63"/>
                  </a:lnTo>
                  <a:lnTo>
                    <a:pt x="61" y="119"/>
                  </a:lnTo>
                  <a:lnTo>
                    <a:pt x="63" y="122"/>
                  </a:lnTo>
                  <a:lnTo>
                    <a:pt x="66" y="123"/>
                  </a:lnTo>
                  <a:lnTo>
                    <a:pt x="68" y="124"/>
                  </a:lnTo>
                  <a:lnTo>
                    <a:pt x="71" y="124"/>
                  </a:lnTo>
                  <a:lnTo>
                    <a:pt x="74" y="124"/>
                  </a:lnTo>
                  <a:lnTo>
                    <a:pt x="77" y="123"/>
                  </a:lnTo>
                  <a:lnTo>
                    <a:pt x="80" y="122"/>
                  </a:lnTo>
                  <a:lnTo>
                    <a:pt x="82" y="119"/>
                  </a:lnTo>
                  <a:lnTo>
                    <a:pt x="176" y="25"/>
                  </a:lnTo>
                  <a:lnTo>
                    <a:pt x="178" y="23"/>
                  </a:lnTo>
                  <a:lnTo>
                    <a:pt x="180" y="20"/>
                  </a:lnTo>
                  <a:lnTo>
                    <a:pt x="180" y="18"/>
                  </a:lnTo>
                  <a:lnTo>
                    <a:pt x="181" y="14"/>
                  </a:lnTo>
                  <a:lnTo>
                    <a:pt x="180" y="11"/>
                  </a:lnTo>
                  <a:lnTo>
                    <a:pt x="180" y="9"/>
                  </a:lnTo>
                  <a:lnTo>
                    <a:pt x="178" y="6"/>
                  </a:lnTo>
                  <a:lnTo>
                    <a:pt x="176" y="4"/>
                  </a:lnTo>
                  <a:lnTo>
                    <a:pt x="174" y="2"/>
                  </a:lnTo>
                  <a:lnTo>
                    <a:pt x="172" y="1"/>
                  </a:lnTo>
                  <a:lnTo>
                    <a:pt x="169" y="0"/>
                  </a:lnTo>
                  <a:lnTo>
                    <a:pt x="166" y="0"/>
                  </a:lnTo>
                  <a:lnTo>
                    <a:pt x="163" y="0"/>
                  </a:lnTo>
                  <a:lnTo>
                    <a:pt x="160" y="1"/>
                  </a:lnTo>
                  <a:lnTo>
                    <a:pt x="158" y="2"/>
                  </a:lnTo>
                  <a:lnTo>
                    <a:pt x="15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186">
              <a:extLst>
                <a:ext uri="{FF2B5EF4-FFF2-40B4-BE49-F238E27FC236}">
                  <a16:creationId xmlns:a16="http://schemas.microsoft.com/office/drawing/2014/main" id="{278B32CE-AB18-449A-BF1F-7A8DEFF06693}"/>
                </a:ext>
              </a:extLst>
            </p:cNvPr>
            <p:cNvSpPr>
              <a:spLocks/>
            </p:cNvSpPr>
            <p:nvPr/>
          </p:nvSpPr>
          <p:spPr bwMode="auto">
            <a:xfrm>
              <a:off x="11109325" y="1558926"/>
              <a:ext cx="57150" cy="39688"/>
            </a:xfrm>
            <a:custGeom>
              <a:avLst/>
              <a:gdLst>
                <a:gd name="T0" fmla="*/ 156 w 181"/>
                <a:gd name="T1" fmla="*/ 5 h 126"/>
                <a:gd name="T2" fmla="*/ 71 w 181"/>
                <a:gd name="T3" fmla="*/ 88 h 126"/>
                <a:gd name="T4" fmla="*/ 25 w 181"/>
                <a:gd name="T5" fmla="*/ 43 h 126"/>
                <a:gd name="T6" fmla="*/ 23 w 181"/>
                <a:gd name="T7" fmla="*/ 41 h 126"/>
                <a:gd name="T8" fmla="*/ 20 w 181"/>
                <a:gd name="T9" fmla="*/ 40 h 126"/>
                <a:gd name="T10" fmla="*/ 18 w 181"/>
                <a:gd name="T11" fmla="*/ 39 h 126"/>
                <a:gd name="T12" fmla="*/ 15 w 181"/>
                <a:gd name="T13" fmla="*/ 39 h 126"/>
                <a:gd name="T14" fmla="*/ 11 w 181"/>
                <a:gd name="T15" fmla="*/ 39 h 126"/>
                <a:gd name="T16" fmla="*/ 9 w 181"/>
                <a:gd name="T17" fmla="*/ 40 h 126"/>
                <a:gd name="T18" fmla="*/ 6 w 181"/>
                <a:gd name="T19" fmla="*/ 41 h 126"/>
                <a:gd name="T20" fmla="*/ 4 w 181"/>
                <a:gd name="T21" fmla="*/ 43 h 126"/>
                <a:gd name="T22" fmla="*/ 2 w 181"/>
                <a:gd name="T23" fmla="*/ 46 h 126"/>
                <a:gd name="T24" fmla="*/ 1 w 181"/>
                <a:gd name="T25" fmla="*/ 49 h 126"/>
                <a:gd name="T26" fmla="*/ 0 w 181"/>
                <a:gd name="T27" fmla="*/ 51 h 126"/>
                <a:gd name="T28" fmla="*/ 0 w 181"/>
                <a:gd name="T29" fmla="*/ 54 h 126"/>
                <a:gd name="T30" fmla="*/ 0 w 181"/>
                <a:gd name="T31" fmla="*/ 57 h 126"/>
                <a:gd name="T32" fmla="*/ 1 w 181"/>
                <a:gd name="T33" fmla="*/ 60 h 126"/>
                <a:gd name="T34" fmla="*/ 2 w 181"/>
                <a:gd name="T35" fmla="*/ 63 h 126"/>
                <a:gd name="T36" fmla="*/ 4 w 181"/>
                <a:gd name="T37" fmla="*/ 65 h 126"/>
                <a:gd name="T38" fmla="*/ 61 w 181"/>
                <a:gd name="T39" fmla="*/ 122 h 126"/>
                <a:gd name="T40" fmla="*/ 63 w 181"/>
                <a:gd name="T41" fmla="*/ 124 h 126"/>
                <a:gd name="T42" fmla="*/ 66 w 181"/>
                <a:gd name="T43" fmla="*/ 125 h 126"/>
                <a:gd name="T44" fmla="*/ 68 w 181"/>
                <a:gd name="T45" fmla="*/ 126 h 126"/>
                <a:gd name="T46" fmla="*/ 71 w 181"/>
                <a:gd name="T47" fmla="*/ 126 h 126"/>
                <a:gd name="T48" fmla="*/ 74 w 181"/>
                <a:gd name="T49" fmla="*/ 126 h 126"/>
                <a:gd name="T50" fmla="*/ 77 w 181"/>
                <a:gd name="T51" fmla="*/ 125 h 126"/>
                <a:gd name="T52" fmla="*/ 80 w 181"/>
                <a:gd name="T53" fmla="*/ 124 h 126"/>
                <a:gd name="T54" fmla="*/ 82 w 181"/>
                <a:gd name="T55" fmla="*/ 122 h 126"/>
                <a:gd name="T56" fmla="*/ 176 w 181"/>
                <a:gd name="T57" fmla="*/ 27 h 126"/>
                <a:gd name="T58" fmla="*/ 178 w 181"/>
                <a:gd name="T59" fmla="*/ 24 h 126"/>
                <a:gd name="T60" fmla="*/ 180 w 181"/>
                <a:gd name="T61" fmla="*/ 22 h 126"/>
                <a:gd name="T62" fmla="*/ 180 w 181"/>
                <a:gd name="T63" fmla="*/ 19 h 126"/>
                <a:gd name="T64" fmla="*/ 181 w 181"/>
                <a:gd name="T65" fmla="*/ 16 h 126"/>
                <a:gd name="T66" fmla="*/ 180 w 181"/>
                <a:gd name="T67" fmla="*/ 12 h 126"/>
                <a:gd name="T68" fmla="*/ 180 w 181"/>
                <a:gd name="T69" fmla="*/ 10 h 126"/>
                <a:gd name="T70" fmla="*/ 178 w 181"/>
                <a:gd name="T71" fmla="*/ 7 h 126"/>
                <a:gd name="T72" fmla="*/ 176 w 181"/>
                <a:gd name="T73" fmla="*/ 5 h 126"/>
                <a:gd name="T74" fmla="*/ 174 w 181"/>
                <a:gd name="T75" fmla="*/ 3 h 126"/>
                <a:gd name="T76" fmla="*/ 172 w 181"/>
                <a:gd name="T77" fmla="*/ 2 h 126"/>
                <a:gd name="T78" fmla="*/ 169 w 181"/>
                <a:gd name="T79" fmla="*/ 1 h 126"/>
                <a:gd name="T80" fmla="*/ 166 w 181"/>
                <a:gd name="T81" fmla="*/ 0 h 126"/>
                <a:gd name="T82" fmla="*/ 163 w 181"/>
                <a:gd name="T83" fmla="*/ 1 h 126"/>
                <a:gd name="T84" fmla="*/ 160 w 181"/>
                <a:gd name="T85" fmla="*/ 2 h 126"/>
                <a:gd name="T86" fmla="*/ 158 w 181"/>
                <a:gd name="T87" fmla="*/ 3 h 126"/>
                <a:gd name="T88" fmla="*/ 156 w 181"/>
                <a:gd name="T89" fmla="*/ 5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1" h="126">
                  <a:moveTo>
                    <a:pt x="156" y="5"/>
                  </a:moveTo>
                  <a:lnTo>
                    <a:pt x="71" y="88"/>
                  </a:lnTo>
                  <a:lnTo>
                    <a:pt x="25" y="43"/>
                  </a:lnTo>
                  <a:lnTo>
                    <a:pt x="23" y="41"/>
                  </a:lnTo>
                  <a:lnTo>
                    <a:pt x="20" y="40"/>
                  </a:lnTo>
                  <a:lnTo>
                    <a:pt x="18" y="39"/>
                  </a:lnTo>
                  <a:lnTo>
                    <a:pt x="15" y="39"/>
                  </a:lnTo>
                  <a:lnTo>
                    <a:pt x="11" y="39"/>
                  </a:lnTo>
                  <a:lnTo>
                    <a:pt x="9" y="40"/>
                  </a:lnTo>
                  <a:lnTo>
                    <a:pt x="6" y="41"/>
                  </a:lnTo>
                  <a:lnTo>
                    <a:pt x="4" y="43"/>
                  </a:lnTo>
                  <a:lnTo>
                    <a:pt x="2" y="46"/>
                  </a:lnTo>
                  <a:lnTo>
                    <a:pt x="1" y="49"/>
                  </a:lnTo>
                  <a:lnTo>
                    <a:pt x="0" y="51"/>
                  </a:lnTo>
                  <a:lnTo>
                    <a:pt x="0" y="54"/>
                  </a:lnTo>
                  <a:lnTo>
                    <a:pt x="0" y="57"/>
                  </a:lnTo>
                  <a:lnTo>
                    <a:pt x="1" y="60"/>
                  </a:lnTo>
                  <a:lnTo>
                    <a:pt x="2" y="63"/>
                  </a:lnTo>
                  <a:lnTo>
                    <a:pt x="4" y="65"/>
                  </a:lnTo>
                  <a:lnTo>
                    <a:pt x="61" y="122"/>
                  </a:lnTo>
                  <a:lnTo>
                    <a:pt x="63" y="124"/>
                  </a:lnTo>
                  <a:lnTo>
                    <a:pt x="66" y="125"/>
                  </a:lnTo>
                  <a:lnTo>
                    <a:pt x="68" y="126"/>
                  </a:lnTo>
                  <a:lnTo>
                    <a:pt x="71" y="126"/>
                  </a:lnTo>
                  <a:lnTo>
                    <a:pt x="74" y="126"/>
                  </a:lnTo>
                  <a:lnTo>
                    <a:pt x="77" y="125"/>
                  </a:lnTo>
                  <a:lnTo>
                    <a:pt x="80" y="124"/>
                  </a:lnTo>
                  <a:lnTo>
                    <a:pt x="82" y="122"/>
                  </a:lnTo>
                  <a:lnTo>
                    <a:pt x="176" y="27"/>
                  </a:lnTo>
                  <a:lnTo>
                    <a:pt x="178" y="24"/>
                  </a:lnTo>
                  <a:lnTo>
                    <a:pt x="180" y="22"/>
                  </a:lnTo>
                  <a:lnTo>
                    <a:pt x="180" y="19"/>
                  </a:lnTo>
                  <a:lnTo>
                    <a:pt x="181" y="16"/>
                  </a:lnTo>
                  <a:lnTo>
                    <a:pt x="180" y="12"/>
                  </a:lnTo>
                  <a:lnTo>
                    <a:pt x="180" y="10"/>
                  </a:lnTo>
                  <a:lnTo>
                    <a:pt x="178" y="7"/>
                  </a:lnTo>
                  <a:lnTo>
                    <a:pt x="176" y="5"/>
                  </a:lnTo>
                  <a:lnTo>
                    <a:pt x="174" y="3"/>
                  </a:lnTo>
                  <a:lnTo>
                    <a:pt x="172" y="2"/>
                  </a:lnTo>
                  <a:lnTo>
                    <a:pt x="169" y="1"/>
                  </a:lnTo>
                  <a:lnTo>
                    <a:pt x="166" y="0"/>
                  </a:lnTo>
                  <a:lnTo>
                    <a:pt x="163" y="1"/>
                  </a:lnTo>
                  <a:lnTo>
                    <a:pt x="160" y="2"/>
                  </a:lnTo>
                  <a:lnTo>
                    <a:pt x="158" y="3"/>
                  </a:lnTo>
                  <a:lnTo>
                    <a:pt x="15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7" name="Group 76">
            <a:extLst>
              <a:ext uri="{FF2B5EF4-FFF2-40B4-BE49-F238E27FC236}">
                <a16:creationId xmlns:a16="http://schemas.microsoft.com/office/drawing/2014/main" id="{BA6DD7A6-F15A-46F6-AE14-412C909EB457}"/>
              </a:ext>
            </a:extLst>
          </p:cNvPr>
          <p:cNvGrpSpPr/>
          <p:nvPr/>
        </p:nvGrpSpPr>
        <p:grpSpPr>
          <a:xfrm>
            <a:off x="702543" y="2935579"/>
            <a:ext cx="238126" cy="285750"/>
            <a:chOff x="6489700" y="1933576"/>
            <a:chExt cx="238126" cy="285750"/>
          </a:xfrm>
          <a:solidFill>
            <a:schemeClr val="bg1"/>
          </a:solidFill>
          <a:effectLst>
            <a:outerShdw blurRad="50800" dist="38100" dir="5400000" algn="t" rotWithShape="0">
              <a:prstClr val="black">
                <a:alpha val="20000"/>
              </a:prstClr>
            </a:outerShdw>
          </a:effectLst>
        </p:grpSpPr>
        <p:sp>
          <p:nvSpPr>
            <p:cNvPr id="78" name="Freeform 304">
              <a:extLst>
                <a:ext uri="{FF2B5EF4-FFF2-40B4-BE49-F238E27FC236}">
                  <a16:creationId xmlns:a16="http://schemas.microsoft.com/office/drawing/2014/main" id="{20E3EC75-9369-481C-8948-324C6D148934}"/>
                </a:ext>
              </a:extLst>
            </p:cNvPr>
            <p:cNvSpPr>
              <a:spLocks noEditPoints="1"/>
            </p:cNvSpPr>
            <p:nvPr/>
          </p:nvSpPr>
          <p:spPr bwMode="auto">
            <a:xfrm>
              <a:off x="6489700" y="1933576"/>
              <a:ext cx="200025" cy="257175"/>
            </a:xfrm>
            <a:custGeom>
              <a:avLst/>
              <a:gdLst>
                <a:gd name="T0" fmla="*/ 580 w 631"/>
                <a:gd name="T1" fmla="*/ 180 h 811"/>
                <a:gd name="T2" fmla="*/ 450 w 631"/>
                <a:gd name="T3" fmla="*/ 52 h 811"/>
                <a:gd name="T4" fmla="*/ 30 w 631"/>
                <a:gd name="T5" fmla="*/ 781 h 811"/>
                <a:gd name="T6" fmla="*/ 420 w 631"/>
                <a:gd name="T7" fmla="*/ 30 h 811"/>
                <a:gd name="T8" fmla="*/ 421 w 631"/>
                <a:gd name="T9" fmla="*/ 198 h 811"/>
                <a:gd name="T10" fmla="*/ 424 w 631"/>
                <a:gd name="T11" fmla="*/ 203 h 811"/>
                <a:gd name="T12" fmla="*/ 427 w 631"/>
                <a:gd name="T13" fmla="*/ 208 h 811"/>
                <a:gd name="T14" fmla="*/ 432 w 631"/>
                <a:gd name="T15" fmla="*/ 210 h 811"/>
                <a:gd name="T16" fmla="*/ 601 w 631"/>
                <a:gd name="T17" fmla="*/ 210 h 811"/>
                <a:gd name="T18" fmla="*/ 601 w 631"/>
                <a:gd name="T19" fmla="*/ 273 h 811"/>
                <a:gd name="T20" fmla="*/ 603 w 631"/>
                <a:gd name="T21" fmla="*/ 279 h 811"/>
                <a:gd name="T22" fmla="*/ 608 w 631"/>
                <a:gd name="T23" fmla="*/ 282 h 811"/>
                <a:gd name="T24" fmla="*/ 613 w 631"/>
                <a:gd name="T25" fmla="*/ 285 h 811"/>
                <a:gd name="T26" fmla="*/ 619 w 631"/>
                <a:gd name="T27" fmla="*/ 285 h 811"/>
                <a:gd name="T28" fmla="*/ 625 w 631"/>
                <a:gd name="T29" fmla="*/ 282 h 811"/>
                <a:gd name="T30" fmla="*/ 628 w 631"/>
                <a:gd name="T31" fmla="*/ 279 h 811"/>
                <a:gd name="T32" fmla="*/ 630 w 631"/>
                <a:gd name="T33" fmla="*/ 273 h 811"/>
                <a:gd name="T34" fmla="*/ 631 w 631"/>
                <a:gd name="T35" fmla="*/ 195 h 811"/>
                <a:gd name="T36" fmla="*/ 627 w 631"/>
                <a:gd name="T37" fmla="*/ 184 h 811"/>
                <a:gd name="T38" fmla="*/ 444 w 631"/>
                <a:gd name="T39" fmla="*/ 2 h 811"/>
                <a:gd name="T40" fmla="*/ 439 w 631"/>
                <a:gd name="T41" fmla="*/ 0 h 811"/>
                <a:gd name="T42" fmla="*/ 15 w 631"/>
                <a:gd name="T43" fmla="*/ 0 h 811"/>
                <a:gd name="T44" fmla="*/ 9 w 631"/>
                <a:gd name="T45" fmla="*/ 1 h 811"/>
                <a:gd name="T46" fmla="*/ 4 w 631"/>
                <a:gd name="T47" fmla="*/ 4 h 811"/>
                <a:gd name="T48" fmla="*/ 1 w 631"/>
                <a:gd name="T49" fmla="*/ 10 h 811"/>
                <a:gd name="T50" fmla="*/ 0 w 631"/>
                <a:gd name="T51" fmla="*/ 15 h 811"/>
                <a:gd name="T52" fmla="*/ 1 w 631"/>
                <a:gd name="T53" fmla="*/ 799 h 811"/>
                <a:gd name="T54" fmla="*/ 3 w 631"/>
                <a:gd name="T55" fmla="*/ 805 h 811"/>
                <a:gd name="T56" fmla="*/ 6 w 631"/>
                <a:gd name="T57" fmla="*/ 808 h 811"/>
                <a:gd name="T58" fmla="*/ 12 w 631"/>
                <a:gd name="T59" fmla="*/ 810 h 811"/>
                <a:gd name="T60" fmla="*/ 351 w 631"/>
                <a:gd name="T61" fmla="*/ 811 h 811"/>
                <a:gd name="T62" fmla="*/ 357 w 631"/>
                <a:gd name="T63" fmla="*/ 810 h 811"/>
                <a:gd name="T64" fmla="*/ 362 w 631"/>
                <a:gd name="T65" fmla="*/ 807 h 811"/>
                <a:gd name="T66" fmla="*/ 365 w 631"/>
                <a:gd name="T67" fmla="*/ 801 h 811"/>
                <a:gd name="T68" fmla="*/ 366 w 631"/>
                <a:gd name="T69" fmla="*/ 796 h 811"/>
                <a:gd name="T70" fmla="*/ 365 w 631"/>
                <a:gd name="T71" fmla="*/ 790 h 811"/>
                <a:gd name="T72" fmla="*/ 362 w 631"/>
                <a:gd name="T73" fmla="*/ 785 h 811"/>
                <a:gd name="T74" fmla="*/ 357 w 631"/>
                <a:gd name="T75" fmla="*/ 782 h 811"/>
                <a:gd name="T76" fmla="*/ 351 w 631"/>
                <a:gd name="T77" fmla="*/ 781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1" h="811">
                  <a:moveTo>
                    <a:pt x="450" y="52"/>
                  </a:moveTo>
                  <a:lnTo>
                    <a:pt x="580" y="180"/>
                  </a:lnTo>
                  <a:lnTo>
                    <a:pt x="450" y="180"/>
                  </a:lnTo>
                  <a:lnTo>
                    <a:pt x="450" y="52"/>
                  </a:lnTo>
                  <a:close/>
                  <a:moveTo>
                    <a:pt x="351" y="781"/>
                  </a:moveTo>
                  <a:lnTo>
                    <a:pt x="30" y="781"/>
                  </a:lnTo>
                  <a:lnTo>
                    <a:pt x="30" y="30"/>
                  </a:lnTo>
                  <a:lnTo>
                    <a:pt x="420" y="30"/>
                  </a:lnTo>
                  <a:lnTo>
                    <a:pt x="420" y="195"/>
                  </a:lnTo>
                  <a:lnTo>
                    <a:pt x="421" y="198"/>
                  </a:lnTo>
                  <a:lnTo>
                    <a:pt x="421" y="201"/>
                  </a:lnTo>
                  <a:lnTo>
                    <a:pt x="424" y="203"/>
                  </a:lnTo>
                  <a:lnTo>
                    <a:pt x="425" y="205"/>
                  </a:lnTo>
                  <a:lnTo>
                    <a:pt x="427" y="208"/>
                  </a:lnTo>
                  <a:lnTo>
                    <a:pt x="430" y="209"/>
                  </a:lnTo>
                  <a:lnTo>
                    <a:pt x="432" y="210"/>
                  </a:lnTo>
                  <a:lnTo>
                    <a:pt x="435" y="210"/>
                  </a:lnTo>
                  <a:lnTo>
                    <a:pt x="601" y="210"/>
                  </a:lnTo>
                  <a:lnTo>
                    <a:pt x="601" y="270"/>
                  </a:lnTo>
                  <a:lnTo>
                    <a:pt x="601" y="273"/>
                  </a:lnTo>
                  <a:lnTo>
                    <a:pt x="602" y="276"/>
                  </a:lnTo>
                  <a:lnTo>
                    <a:pt x="603" y="279"/>
                  </a:lnTo>
                  <a:lnTo>
                    <a:pt x="605" y="281"/>
                  </a:lnTo>
                  <a:lnTo>
                    <a:pt x="608" y="282"/>
                  </a:lnTo>
                  <a:lnTo>
                    <a:pt x="610" y="284"/>
                  </a:lnTo>
                  <a:lnTo>
                    <a:pt x="613" y="285"/>
                  </a:lnTo>
                  <a:lnTo>
                    <a:pt x="616" y="285"/>
                  </a:lnTo>
                  <a:lnTo>
                    <a:pt x="619" y="285"/>
                  </a:lnTo>
                  <a:lnTo>
                    <a:pt x="622" y="284"/>
                  </a:lnTo>
                  <a:lnTo>
                    <a:pt x="625" y="282"/>
                  </a:lnTo>
                  <a:lnTo>
                    <a:pt x="627" y="281"/>
                  </a:lnTo>
                  <a:lnTo>
                    <a:pt x="628" y="279"/>
                  </a:lnTo>
                  <a:lnTo>
                    <a:pt x="630" y="276"/>
                  </a:lnTo>
                  <a:lnTo>
                    <a:pt x="630" y="273"/>
                  </a:lnTo>
                  <a:lnTo>
                    <a:pt x="631" y="270"/>
                  </a:lnTo>
                  <a:lnTo>
                    <a:pt x="631" y="195"/>
                  </a:lnTo>
                  <a:lnTo>
                    <a:pt x="630" y="189"/>
                  </a:lnTo>
                  <a:lnTo>
                    <a:pt x="627" y="184"/>
                  </a:lnTo>
                  <a:lnTo>
                    <a:pt x="446" y="4"/>
                  </a:lnTo>
                  <a:lnTo>
                    <a:pt x="444" y="2"/>
                  </a:lnTo>
                  <a:lnTo>
                    <a:pt x="442" y="1"/>
                  </a:lnTo>
                  <a:lnTo>
                    <a:pt x="439" y="0"/>
                  </a:lnTo>
                  <a:lnTo>
                    <a:pt x="435" y="0"/>
                  </a:lnTo>
                  <a:lnTo>
                    <a:pt x="15" y="0"/>
                  </a:lnTo>
                  <a:lnTo>
                    <a:pt x="12" y="0"/>
                  </a:lnTo>
                  <a:lnTo>
                    <a:pt x="9" y="1"/>
                  </a:lnTo>
                  <a:lnTo>
                    <a:pt x="6" y="2"/>
                  </a:lnTo>
                  <a:lnTo>
                    <a:pt x="4" y="4"/>
                  </a:lnTo>
                  <a:lnTo>
                    <a:pt x="3" y="6"/>
                  </a:lnTo>
                  <a:lnTo>
                    <a:pt x="1" y="10"/>
                  </a:lnTo>
                  <a:lnTo>
                    <a:pt x="1" y="12"/>
                  </a:lnTo>
                  <a:lnTo>
                    <a:pt x="0" y="15"/>
                  </a:lnTo>
                  <a:lnTo>
                    <a:pt x="0" y="796"/>
                  </a:lnTo>
                  <a:lnTo>
                    <a:pt x="1" y="799"/>
                  </a:lnTo>
                  <a:lnTo>
                    <a:pt x="1" y="801"/>
                  </a:lnTo>
                  <a:lnTo>
                    <a:pt x="3" y="805"/>
                  </a:lnTo>
                  <a:lnTo>
                    <a:pt x="4" y="807"/>
                  </a:lnTo>
                  <a:lnTo>
                    <a:pt x="6" y="808"/>
                  </a:lnTo>
                  <a:lnTo>
                    <a:pt x="9" y="810"/>
                  </a:lnTo>
                  <a:lnTo>
                    <a:pt x="12" y="810"/>
                  </a:lnTo>
                  <a:lnTo>
                    <a:pt x="15" y="811"/>
                  </a:lnTo>
                  <a:lnTo>
                    <a:pt x="351" y="811"/>
                  </a:lnTo>
                  <a:lnTo>
                    <a:pt x="354" y="810"/>
                  </a:lnTo>
                  <a:lnTo>
                    <a:pt x="357" y="810"/>
                  </a:lnTo>
                  <a:lnTo>
                    <a:pt x="359" y="808"/>
                  </a:lnTo>
                  <a:lnTo>
                    <a:pt x="362" y="807"/>
                  </a:lnTo>
                  <a:lnTo>
                    <a:pt x="364" y="805"/>
                  </a:lnTo>
                  <a:lnTo>
                    <a:pt x="365" y="801"/>
                  </a:lnTo>
                  <a:lnTo>
                    <a:pt x="366" y="799"/>
                  </a:lnTo>
                  <a:lnTo>
                    <a:pt x="366" y="796"/>
                  </a:lnTo>
                  <a:lnTo>
                    <a:pt x="366" y="793"/>
                  </a:lnTo>
                  <a:lnTo>
                    <a:pt x="365" y="790"/>
                  </a:lnTo>
                  <a:lnTo>
                    <a:pt x="364" y="788"/>
                  </a:lnTo>
                  <a:lnTo>
                    <a:pt x="362" y="785"/>
                  </a:lnTo>
                  <a:lnTo>
                    <a:pt x="359" y="783"/>
                  </a:lnTo>
                  <a:lnTo>
                    <a:pt x="357" y="782"/>
                  </a:lnTo>
                  <a:lnTo>
                    <a:pt x="354" y="781"/>
                  </a:lnTo>
                  <a:lnTo>
                    <a:pt x="351" y="7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305">
              <a:extLst>
                <a:ext uri="{FF2B5EF4-FFF2-40B4-BE49-F238E27FC236}">
                  <a16:creationId xmlns:a16="http://schemas.microsoft.com/office/drawing/2014/main" id="{4FAA4971-D50D-4C83-8AE6-B2E838EAE87D}"/>
                </a:ext>
              </a:extLst>
            </p:cNvPr>
            <p:cNvSpPr>
              <a:spLocks noEditPoints="1"/>
            </p:cNvSpPr>
            <p:nvPr/>
          </p:nvSpPr>
          <p:spPr bwMode="auto">
            <a:xfrm>
              <a:off x="6651625" y="2076451"/>
              <a:ext cx="47625" cy="47625"/>
            </a:xfrm>
            <a:custGeom>
              <a:avLst/>
              <a:gdLst>
                <a:gd name="T0" fmla="*/ 85 w 151"/>
                <a:gd name="T1" fmla="*/ 31 h 150"/>
                <a:gd name="T2" fmla="*/ 101 w 151"/>
                <a:gd name="T3" fmla="*/ 38 h 150"/>
                <a:gd name="T4" fmla="*/ 114 w 151"/>
                <a:gd name="T5" fmla="*/ 51 h 150"/>
                <a:gd name="T6" fmla="*/ 120 w 151"/>
                <a:gd name="T7" fmla="*/ 67 h 150"/>
                <a:gd name="T8" fmla="*/ 120 w 151"/>
                <a:gd name="T9" fmla="*/ 85 h 150"/>
                <a:gd name="T10" fmla="*/ 114 w 151"/>
                <a:gd name="T11" fmla="*/ 101 h 150"/>
                <a:gd name="T12" fmla="*/ 101 w 151"/>
                <a:gd name="T13" fmla="*/ 113 h 150"/>
                <a:gd name="T14" fmla="*/ 85 w 151"/>
                <a:gd name="T15" fmla="*/ 119 h 150"/>
                <a:gd name="T16" fmla="*/ 67 w 151"/>
                <a:gd name="T17" fmla="*/ 119 h 150"/>
                <a:gd name="T18" fmla="*/ 51 w 151"/>
                <a:gd name="T19" fmla="*/ 113 h 150"/>
                <a:gd name="T20" fmla="*/ 39 w 151"/>
                <a:gd name="T21" fmla="*/ 101 h 150"/>
                <a:gd name="T22" fmla="*/ 31 w 151"/>
                <a:gd name="T23" fmla="*/ 85 h 150"/>
                <a:gd name="T24" fmla="*/ 31 w 151"/>
                <a:gd name="T25" fmla="*/ 67 h 150"/>
                <a:gd name="T26" fmla="*/ 39 w 151"/>
                <a:gd name="T27" fmla="*/ 51 h 150"/>
                <a:gd name="T28" fmla="*/ 51 w 151"/>
                <a:gd name="T29" fmla="*/ 38 h 150"/>
                <a:gd name="T30" fmla="*/ 67 w 151"/>
                <a:gd name="T31" fmla="*/ 31 h 150"/>
                <a:gd name="T32" fmla="*/ 76 w 151"/>
                <a:gd name="T33" fmla="*/ 150 h 150"/>
                <a:gd name="T34" fmla="*/ 91 w 151"/>
                <a:gd name="T35" fmla="*/ 149 h 150"/>
                <a:gd name="T36" fmla="*/ 105 w 151"/>
                <a:gd name="T37" fmla="*/ 145 h 150"/>
                <a:gd name="T38" fmla="*/ 118 w 151"/>
                <a:gd name="T39" fmla="*/ 137 h 150"/>
                <a:gd name="T40" fmla="*/ 129 w 151"/>
                <a:gd name="T41" fmla="*/ 129 h 150"/>
                <a:gd name="T42" fmla="*/ 138 w 151"/>
                <a:gd name="T43" fmla="*/ 117 h 150"/>
                <a:gd name="T44" fmla="*/ 145 w 151"/>
                <a:gd name="T45" fmla="*/ 105 h 150"/>
                <a:gd name="T46" fmla="*/ 149 w 151"/>
                <a:gd name="T47" fmla="*/ 90 h 150"/>
                <a:gd name="T48" fmla="*/ 151 w 151"/>
                <a:gd name="T49" fmla="*/ 75 h 150"/>
                <a:gd name="T50" fmla="*/ 149 w 151"/>
                <a:gd name="T51" fmla="*/ 60 h 150"/>
                <a:gd name="T52" fmla="*/ 145 w 151"/>
                <a:gd name="T53" fmla="*/ 46 h 150"/>
                <a:gd name="T54" fmla="*/ 138 w 151"/>
                <a:gd name="T55" fmla="*/ 34 h 150"/>
                <a:gd name="T56" fmla="*/ 129 w 151"/>
                <a:gd name="T57" fmla="*/ 23 h 150"/>
                <a:gd name="T58" fmla="*/ 118 w 151"/>
                <a:gd name="T59" fmla="*/ 13 h 150"/>
                <a:gd name="T60" fmla="*/ 105 w 151"/>
                <a:gd name="T61" fmla="*/ 6 h 150"/>
                <a:gd name="T62" fmla="*/ 91 w 151"/>
                <a:gd name="T63" fmla="*/ 2 h 150"/>
                <a:gd name="T64" fmla="*/ 76 w 151"/>
                <a:gd name="T65" fmla="*/ 0 h 150"/>
                <a:gd name="T66" fmla="*/ 61 w 151"/>
                <a:gd name="T67" fmla="*/ 2 h 150"/>
                <a:gd name="T68" fmla="*/ 46 w 151"/>
                <a:gd name="T69" fmla="*/ 6 h 150"/>
                <a:gd name="T70" fmla="*/ 33 w 151"/>
                <a:gd name="T71" fmla="*/ 13 h 150"/>
                <a:gd name="T72" fmla="*/ 23 w 151"/>
                <a:gd name="T73" fmla="*/ 23 h 150"/>
                <a:gd name="T74" fmla="*/ 13 w 151"/>
                <a:gd name="T75" fmla="*/ 34 h 150"/>
                <a:gd name="T76" fmla="*/ 7 w 151"/>
                <a:gd name="T77" fmla="*/ 46 h 150"/>
                <a:gd name="T78" fmla="*/ 2 w 151"/>
                <a:gd name="T79" fmla="*/ 60 h 150"/>
                <a:gd name="T80" fmla="*/ 0 w 151"/>
                <a:gd name="T81" fmla="*/ 75 h 150"/>
                <a:gd name="T82" fmla="*/ 2 w 151"/>
                <a:gd name="T83" fmla="*/ 90 h 150"/>
                <a:gd name="T84" fmla="*/ 7 w 151"/>
                <a:gd name="T85" fmla="*/ 105 h 150"/>
                <a:gd name="T86" fmla="*/ 13 w 151"/>
                <a:gd name="T87" fmla="*/ 117 h 150"/>
                <a:gd name="T88" fmla="*/ 23 w 151"/>
                <a:gd name="T89" fmla="*/ 129 h 150"/>
                <a:gd name="T90" fmla="*/ 33 w 151"/>
                <a:gd name="T91" fmla="*/ 137 h 150"/>
                <a:gd name="T92" fmla="*/ 46 w 151"/>
                <a:gd name="T93" fmla="*/ 145 h 150"/>
                <a:gd name="T94" fmla="*/ 61 w 151"/>
                <a:gd name="T95" fmla="*/ 149 h 150"/>
                <a:gd name="T96" fmla="*/ 76 w 151"/>
                <a:gd name="T9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1" h="150">
                  <a:moveTo>
                    <a:pt x="76" y="30"/>
                  </a:moveTo>
                  <a:lnTo>
                    <a:pt x="85" y="31"/>
                  </a:lnTo>
                  <a:lnTo>
                    <a:pt x="93" y="34"/>
                  </a:lnTo>
                  <a:lnTo>
                    <a:pt x="101" y="38"/>
                  </a:lnTo>
                  <a:lnTo>
                    <a:pt x="107" y="44"/>
                  </a:lnTo>
                  <a:lnTo>
                    <a:pt x="114" y="51"/>
                  </a:lnTo>
                  <a:lnTo>
                    <a:pt x="117" y="58"/>
                  </a:lnTo>
                  <a:lnTo>
                    <a:pt x="120" y="67"/>
                  </a:lnTo>
                  <a:lnTo>
                    <a:pt x="121" y="75"/>
                  </a:lnTo>
                  <a:lnTo>
                    <a:pt x="120" y="85"/>
                  </a:lnTo>
                  <a:lnTo>
                    <a:pt x="117" y="94"/>
                  </a:lnTo>
                  <a:lnTo>
                    <a:pt x="114" y="101"/>
                  </a:lnTo>
                  <a:lnTo>
                    <a:pt x="107" y="107"/>
                  </a:lnTo>
                  <a:lnTo>
                    <a:pt x="101" y="113"/>
                  </a:lnTo>
                  <a:lnTo>
                    <a:pt x="93" y="117"/>
                  </a:lnTo>
                  <a:lnTo>
                    <a:pt x="85" y="119"/>
                  </a:lnTo>
                  <a:lnTo>
                    <a:pt x="76" y="120"/>
                  </a:lnTo>
                  <a:lnTo>
                    <a:pt x="67" y="119"/>
                  </a:lnTo>
                  <a:lnTo>
                    <a:pt x="58" y="117"/>
                  </a:lnTo>
                  <a:lnTo>
                    <a:pt x="51" y="113"/>
                  </a:lnTo>
                  <a:lnTo>
                    <a:pt x="44" y="107"/>
                  </a:lnTo>
                  <a:lnTo>
                    <a:pt x="39" y="101"/>
                  </a:lnTo>
                  <a:lnTo>
                    <a:pt x="34" y="94"/>
                  </a:lnTo>
                  <a:lnTo>
                    <a:pt x="31" y="85"/>
                  </a:lnTo>
                  <a:lnTo>
                    <a:pt x="31" y="75"/>
                  </a:lnTo>
                  <a:lnTo>
                    <a:pt x="31" y="67"/>
                  </a:lnTo>
                  <a:lnTo>
                    <a:pt x="34" y="58"/>
                  </a:lnTo>
                  <a:lnTo>
                    <a:pt x="39" y="51"/>
                  </a:lnTo>
                  <a:lnTo>
                    <a:pt x="44" y="44"/>
                  </a:lnTo>
                  <a:lnTo>
                    <a:pt x="51" y="38"/>
                  </a:lnTo>
                  <a:lnTo>
                    <a:pt x="58" y="34"/>
                  </a:lnTo>
                  <a:lnTo>
                    <a:pt x="67" y="31"/>
                  </a:lnTo>
                  <a:lnTo>
                    <a:pt x="76" y="30"/>
                  </a:lnTo>
                  <a:close/>
                  <a:moveTo>
                    <a:pt x="76" y="150"/>
                  </a:moveTo>
                  <a:lnTo>
                    <a:pt x="84" y="150"/>
                  </a:lnTo>
                  <a:lnTo>
                    <a:pt x="91" y="149"/>
                  </a:lnTo>
                  <a:lnTo>
                    <a:pt x="98" y="147"/>
                  </a:lnTo>
                  <a:lnTo>
                    <a:pt x="105" y="145"/>
                  </a:lnTo>
                  <a:lnTo>
                    <a:pt x="112" y="142"/>
                  </a:lnTo>
                  <a:lnTo>
                    <a:pt x="118" y="137"/>
                  </a:lnTo>
                  <a:lnTo>
                    <a:pt x="123" y="133"/>
                  </a:lnTo>
                  <a:lnTo>
                    <a:pt x="129" y="129"/>
                  </a:lnTo>
                  <a:lnTo>
                    <a:pt x="134" y="124"/>
                  </a:lnTo>
                  <a:lnTo>
                    <a:pt x="138" y="117"/>
                  </a:lnTo>
                  <a:lnTo>
                    <a:pt x="141" y="112"/>
                  </a:lnTo>
                  <a:lnTo>
                    <a:pt x="145" y="105"/>
                  </a:lnTo>
                  <a:lnTo>
                    <a:pt x="148" y="98"/>
                  </a:lnTo>
                  <a:lnTo>
                    <a:pt x="149" y="90"/>
                  </a:lnTo>
                  <a:lnTo>
                    <a:pt x="150" y="83"/>
                  </a:lnTo>
                  <a:lnTo>
                    <a:pt x="151" y="75"/>
                  </a:lnTo>
                  <a:lnTo>
                    <a:pt x="150" y="68"/>
                  </a:lnTo>
                  <a:lnTo>
                    <a:pt x="149" y="60"/>
                  </a:lnTo>
                  <a:lnTo>
                    <a:pt x="148" y="53"/>
                  </a:lnTo>
                  <a:lnTo>
                    <a:pt x="145" y="46"/>
                  </a:lnTo>
                  <a:lnTo>
                    <a:pt x="141" y="40"/>
                  </a:lnTo>
                  <a:lnTo>
                    <a:pt x="138" y="34"/>
                  </a:lnTo>
                  <a:lnTo>
                    <a:pt x="134" y="28"/>
                  </a:lnTo>
                  <a:lnTo>
                    <a:pt x="129" y="23"/>
                  </a:lnTo>
                  <a:lnTo>
                    <a:pt x="123" y="18"/>
                  </a:lnTo>
                  <a:lnTo>
                    <a:pt x="118" y="13"/>
                  </a:lnTo>
                  <a:lnTo>
                    <a:pt x="112" y="9"/>
                  </a:lnTo>
                  <a:lnTo>
                    <a:pt x="105" y="6"/>
                  </a:lnTo>
                  <a:lnTo>
                    <a:pt x="98" y="4"/>
                  </a:lnTo>
                  <a:lnTo>
                    <a:pt x="91" y="2"/>
                  </a:lnTo>
                  <a:lnTo>
                    <a:pt x="84" y="0"/>
                  </a:lnTo>
                  <a:lnTo>
                    <a:pt x="76" y="0"/>
                  </a:lnTo>
                  <a:lnTo>
                    <a:pt x="68" y="0"/>
                  </a:lnTo>
                  <a:lnTo>
                    <a:pt x="61" y="2"/>
                  </a:lnTo>
                  <a:lnTo>
                    <a:pt x="54" y="4"/>
                  </a:lnTo>
                  <a:lnTo>
                    <a:pt x="46" y="6"/>
                  </a:lnTo>
                  <a:lnTo>
                    <a:pt x="40" y="9"/>
                  </a:lnTo>
                  <a:lnTo>
                    <a:pt x="33" y="13"/>
                  </a:lnTo>
                  <a:lnTo>
                    <a:pt x="28" y="18"/>
                  </a:lnTo>
                  <a:lnTo>
                    <a:pt x="23" y="23"/>
                  </a:lnTo>
                  <a:lnTo>
                    <a:pt x="18" y="28"/>
                  </a:lnTo>
                  <a:lnTo>
                    <a:pt x="13" y="34"/>
                  </a:lnTo>
                  <a:lnTo>
                    <a:pt x="10" y="40"/>
                  </a:lnTo>
                  <a:lnTo>
                    <a:pt x="7" y="46"/>
                  </a:lnTo>
                  <a:lnTo>
                    <a:pt x="5" y="53"/>
                  </a:lnTo>
                  <a:lnTo>
                    <a:pt x="2" y="60"/>
                  </a:lnTo>
                  <a:lnTo>
                    <a:pt x="1" y="68"/>
                  </a:lnTo>
                  <a:lnTo>
                    <a:pt x="0" y="75"/>
                  </a:lnTo>
                  <a:lnTo>
                    <a:pt x="1" y="83"/>
                  </a:lnTo>
                  <a:lnTo>
                    <a:pt x="2" y="90"/>
                  </a:lnTo>
                  <a:lnTo>
                    <a:pt x="5" y="98"/>
                  </a:lnTo>
                  <a:lnTo>
                    <a:pt x="7" y="105"/>
                  </a:lnTo>
                  <a:lnTo>
                    <a:pt x="10" y="112"/>
                  </a:lnTo>
                  <a:lnTo>
                    <a:pt x="13" y="117"/>
                  </a:lnTo>
                  <a:lnTo>
                    <a:pt x="18" y="124"/>
                  </a:lnTo>
                  <a:lnTo>
                    <a:pt x="23" y="129"/>
                  </a:lnTo>
                  <a:lnTo>
                    <a:pt x="28" y="133"/>
                  </a:lnTo>
                  <a:lnTo>
                    <a:pt x="33" y="137"/>
                  </a:lnTo>
                  <a:lnTo>
                    <a:pt x="40" y="142"/>
                  </a:lnTo>
                  <a:lnTo>
                    <a:pt x="46" y="145"/>
                  </a:lnTo>
                  <a:lnTo>
                    <a:pt x="54" y="147"/>
                  </a:lnTo>
                  <a:lnTo>
                    <a:pt x="61" y="149"/>
                  </a:lnTo>
                  <a:lnTo>
                    <a:pt x="68" y="150"/>
                  </a:lnTo>
                  <a:lnTo>
                    <a:pt x="76"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306">
              <a:extLst>
                <a:ext uri="{FF2B5EF4-FFF2-40B4-BE49-F238E27FC236}">
                  <a16:creationId xmlns:a16="http://schemas.microsoft.com/office/drawing/2014/main" id="{83A98846-5844-4CEF-B95E-87A9AB6962FA}"/>
                </a:ext>
              </a:extLst>
            </p:cNvPr>
            <p:cNvSpPr>
              <a:spLocks noEditPoints="1"/>
            </p:cNvSpPr>
            <p:nvPr/>
          </p:nvSpPr>
          <p:spPr bwMode="auto">
            <a:xfrm>
              <a:off x="6618288" y="2041526"/>
              <a:ext cx="109538" cy="177800"/>
            </a:xfrm>
            <a:custGeom>
              <a:avLst/>
              <a:gdLst>
                <a:gd name="T0" fmla="*/ 181 w 346"/>
                <a:gd name="T1" fmla="*/ 441 h 561"/>
                <a:gd name="T2" fmla="*/ 75 w 346"/>
                <a:gd name="T3" fmla="*/ 323 h 561"/>
                <a:gd name="T4" fmla="*/ 108 w 346"/>
                <a:gd name="T5" fmla="*/ 345 h 561"/>
                <a:gd name="T6" fmla="*/ 149 w 346"/>
                <a:gd name="T7" fmla="*/ 368 h 561"/>
                <a:gd name="T8" fmla="*/ 197 w 346"/>
                <a:gd name="T9" fmla="*/ 368 h 561"/>
                <a:gd name="T10" fmla="*/ 239 w 346"/>
                <a:gd name="T11" fmla="*/ 345 h 561"/>
                <a:gd name="T12" fmla="*/ 255 w 346"/>
                <a:gd name="T13" fmla="*/ 326 h 561"/>
                <a:gd name="T14" fmla="*/ 279 w 346"/>
                <a:gd name="T15" fmla="*/ 321 h 561"/>
                <a:gd name="T16" fmla="*/ 46 w 346"/>
                <a:gd name="T17" fmla="*/ 191 h 561"/>
                <a:gd name="T18" fmla="*/ 39 w 346"/>
                <a:gd name="T19" fmla="*/ 169 h 561"/>
                <a:gd name="T20" fmla="*/ 30 w 346"/>
                <a:gd name="T21" fmla="*/ 135 h 561"/>
                <a:gd name="T22" fmla="*/ 44 w 346"/>
                <a:gd name="T23" fmla="*/ 101 h 561"/>
                <a:gd name="T24" fmla="*/ 73 w 346"/>
                <a:gd name="T25" fmla="*/ 82 h 561"/>
                <a:gd name="T26" fmla="*/ 105 w 346"/>
                <a:gd name="T27" fmla="*/ 79 h 561"/>
                <a:gd name="T28" fmla="*/ 121 w 346"/>
                <a:gd name="T29" fmla="*/ 61 h 561"/>
                <a:gd name="T30" fmla="*/ 147 w 346"/>
                <a:gd name="T31" fmla="*/ 37 h 561"/>
                <a:gd name="T32" fmla="*/ 182 w 346"/>
                <a:gd name="T33" fmla="*/ 31 h 561"/>
                <a:gd name="T34" fmla="*/ 214 w 346"/>
                <a:gd name="T35" fmla="*/ 47 h 561"/>
                <a:gd name="T36" fmla="*/ 233 w 346"/>
                <a:gd name="T37" fmla="*/ 74 h 561"/>
                <a:gd name="T38" fmla="*/ 255 w 346"/>
                <a:gd name="T39" fmla="*/ 78 h 561"/>
                <a:gd name="T40" fmla="*/ 289 w 346"/>
                <a:gd name="T41" fmla="*/ 89 h 561"/>
                <a:gd name="T42" fmla="*/ 312 w 346"/>
                <a:gd name="T43" fmla="*/ 117 h 561"/>
                <a:gd name="T44" fmla="*/ 315 w 346"/>
                <a:gd name="T45" fmla="*/ 152 h 561"/>
                <a:gd name="T46" fmla="*/ 300 w 346"/>
                <a:gd name="T47" fmla="*/ 182 h 561"/>
                <a:gd name="T48" fmla="*/ 307 w 346"/>
                <a:gd name="T49" fmla="*/ 204 h 561"/>
                <a:gd name="T50" fmla="*/ 316 w 346"/>
                <a:gd name="T51" fmla="*/ 238 h 561"/>
                <a:gd name="T52" fmla="*/ 303 w 346"/>
                <a:gd name="T53" fmla="*/ 272 h 561"/>
                <a:gd name="T54" fmla="*/ 273 w 346"/>
                <a:gd name="T55" fmla="*/ 292 h 561"/>
                <a:gd name="T56" fmla="*/ 241 w 346"/>
                <a:gd name="T57" fmla="*/ 295 h 561"/>
                <a:gd name="T58" fmla="*/ 226 w 346"/>
                <a:gd name="T59" fmla="*/ 311 h 561"/>
                <a:gd name="T60" fmla="*/ 199 w 346"/>
                <a:gd name="T61" fmla="*/ 335 h 561"/>
                <a:gd name="T62" fmla="*/ 164 w 346"/>
                <a:gd name="T63" fmla="*/ 341 h 561"/>
                <a:gd name="T64" fmla="*/ 132 w 346"/>
                <a:gd name="T65" fmla="*/ 326 h 561"/>
                <a:gd name="T66" fmla="*/ 115 w 346"/>
                <a:gd name="T67" fmla="*/ 299 h 561"/>
                <a:gd name="T68" fmla="*/ 102 w 346"/>
                <a:gd name="T69" fmla="*/ 293 h 561"/>
                <a:gd name="T70" fmla="*/ 73 w 346"/>
                <a:gd name="T71" fmla="*/ 292 h 561"/>
                <a:gd name="T72" fmla="*/ 44 w 346"/>
                <a:gd name="T73" fmla="*/ 272 h 561"/>
                <a:gd name="T74" fmla="*/ 30 w 346"/>
                <a:gd name="T75" fmla="*/ 238 h 561"/>
                <a:gd name="T76" fmla="*/ 39 w 346"/>
                <a:gd name="T77" fmla="*/ 204 h 561"/>
                <a:gd name="T78" fmla="*/ 343 w 346"/>
                <a:gd name="T79" fmla="*/ 164 h 561"/>
                <a:gd name="T80" fmla="*/ 343 w 346"/>
                <a:gd name="T81" fmla="*/ 117 h 561"/>
                <a:gd name="T82" fmla="*/ 319 w 346"/>
                <a:gd name="T83" fmla="*/ 74 h 561"/>
                <a:gd name="T84" fmla="*/ 278 w 346"/>
                <a:gd name="T85" fmla="*/ 52 h 561"/>
                <a:gd name="T86" fmla="*/ 239 w 346"/>
                <a:gd name="T87" fmla="*/ 29 h 561"/>
                <a:gd name="T88" fmla="*/ 198 w 346"/>
                <a:gd name="T89" fmla="*/ 5 h 561"/>
                <a:gd name="T90" fmla="*/ 149 w 346"/>
                <a:gd name="T91" fmla="*/ 5 h 561"/>
                <a:gd name="T92" fmla="*/ 108 w 346"/>
                <a:gd name="T93" fmla="*/ 29 h 561"/>
                <a:gd name="T94" fmla="*/ 69 w 346"/>
                <a:gd name="T95" fmla="*/ 52 h 561"/>
                <a:gd name="T96" fmla="*/ 27 w 346"/>
                <a:gd name="T97" fmla="*/ 75 h 561"/>
                <a:gd name="T98" fmla="*/ 4 w 346"/>
                <a:gd name="T99" fmla="*/ 117 h 561"/>
                <a:gd name="T100" fmla="*/ 5 w 346"/>
                <a:gd name="T101" fmla="*/ 164 h 561"/>
                <a:gd name="T102" fmla="*/ 5 w 346"/>
                <a:gd name="T103" fmla="*/ 209 h 561"/>
                <a:gd name="T104" fmla="*/ 4 w 346"/>
                <a:gd name="T105" fmla="*/ 257 h 561"/>
                <a:gd name="T106" fmla="*/ 27 w 346"/>
                <a:gd name="T107" fmla="*/ 298 h 561"/>
                <a:gd name="T108" fmla="*/ 46 w 346"/>
                <a:gd name="T109" fmla="*/ 550 h 561"/>
                <a:gd name="T110" fmla="*/ 58 w 346"/>
                <a:gd name="T111" fmla="*/ 561 h 561"/>
                <a:gd name="T112" fmla="*/ 181 w 346"/>
                <a:gd name="T113" fmla="*/ 475 h 561"/>
                <a:gd name="T114" fmla="*/ 299 w 346"/>
                <a:gd name="T115" fmla="*/ 561 h 561"/>
                <a:gd name="T116" fmla="*/ 311 w 346"/>
                <a:gd name="T117" fmla="*/ 558 h 561"/>
                <a:gd name="T118" fmla="*/ 316 w 346"/>
                <a:gd name="T119" fmla="*/ 301 h 561"/>
                <a:gd name="T120" fmla="*/ 343 w 346"/>
                <a:gd name="T121" fmla="*/ 257 h 561"/>
                <a:gd name="T122" fmla="*/ 343 w 346"/>
                <a:gd name="T123" fmla="*/ 209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6" h="561">
                  <a:moveTo>
                    <a:pt x="286" y="516"/>
                  </a:moveTo>
                  <a:lnTo>
                    <a:pt x="190" y="443"/>
                  </a:lnTo>
                  <a:lnTo>
                    <a:pt x="185" y="442"/>
                  </a:lnTo>
                  <a:lnTo>
                    <a:pt x="181" y="441"/>
                  </a:lnTo>
                  <a:lnTo>
                    <a:pt x="176" y="442"/>
                  </a:lnTo>
                  <a:lnTo>
                    <a:pt x="172" y="443"/>
                  </a:lnTo>
                  <a:lnTo>
                    <a:pt x="75" y="516"/>
                  </a:lnTo>
                  <a:lnTo>
                    <a:pt x="75" y="323"/>
                  </a:lnTo>
                  <a:lnTo>
                    <a:pt x="85" y="325"/>
                  </a:lnTo>
                  <a:lnTo>
                    <a:pt x="93" y="326"/>
                  </a:lnTo>
                  <a:lnTo>
                    <a:pt x="100" y="335"/>
                  </a:lnTo>
                  <a:lnTo>
                    <a:pt x="108" y="345"/>
                  </a:lnTo>
                  <a:lnTo>
                    <a:pt x="117" y="352"/>
                  </a:lnTo>
                  <a:lnTo>
                    <a:pt x="127" y="359"/>
                  </a:lnTo>
                  <a:lnTo>
                    <a:pt x="137" y="364"/>
                  </a:lnTo>
                  <a:lnTo>
                    <a:pt x="149" y="368"/>
                  </a:lnTo>
                  <a:lnTo>
                    <a:pt x="161" y="371"/>
                  </a:lnTo>
                  <a:lnTo>
                    <a:pt x="174" y="372"/>
                  </a:lnTo>
                  <a:lnTo>
                    <a:pt x="185" y="371"/>
                  </a:lnTo>
                  <a:lnTo>
                    <a:pt x="197" y="368"/>
                  </a:lnTo>
                  <a:lnTo>
                    <a:pt x="209" y="364"/>
                  </a:lnTo>
                  <a:lnTo>
                    <a:pt x="220" y="359"/>
                  </a:lnTo>
                  <a:lnTo>
                    <a:pt x="229" y="352"/>
                  </a:lnTo>
                  <a:lnTo>
                    <a:pt x="239" y="345"/>
                  </a:lnTo>
                  <a:lnTo>
                    <a:pt x="246" y="335"/>
                  </a:lnTo>
                  <a:lnTo>
                    <a:pt x="253" y="326"/>
                  </a:lnTo>
                  <a:lnTo>
                    <a:pt x="254" y="326"/>
                  </a:lnTo>
                  <a:lnTo>
                    <a:pt x="255" y="326"/>
                  </a:lnTo>
                  <a:lnTo>
                    <a:pt x="255" y="326"/>
                  </a:lnTo>
                  <a:lnTo>
                    <a:pt x="264" y="325"/>
                  </a:lnTo>
                  <a:lnTo>
                    <a:pt x="271" y="323"/>
                  </a:lnTo>
                  <a:lnTo>
                    <a:pt x="279" y="321"/>
                  </a:lnTo>
                  <a:lnTo>
                    <a:pt x="286" y="319"/>
                  </a:lnTo>
                  <a:lnTo>
                    <a:pt x="286" y="516"/>
                  </a:lnTo>
                  <a:close/>
                  <a:moveTo>
                    <a:pt x="44" y="196"/>
                  </a:moveTo>
                  <a:lnTo>
                    <a:pt x="46" y="191"/>
                  </a:lnTo>
                  <a:lnTo>
                    <a:pt x="47" y="186"/>
                  </a:lnTo>
                  <a:lnTo>
                    <a:pt x="46" y="182"/>
                  </a:lnTo>
                  <a:lnTo>
                    <a:pt x="44" y="178"/>
                  </a:lnTo>
                  <a:lnTo>
                    <a:pt x="39" y="169"/>
                  </a:lnTo>
                  <a:lnTo>
                    <a:pt x="35" y="162"/>
                  </a:lnTo>
                  <a:lnTo>
                    <a:pt x="32" y="152"/>
                  </a:lnTo>
                  <a:lnTo>
                    <a:pt x="30" y="144"/>
                  </a:lnTo>
                  <a:lnTo>
                    <a:pt x="30" y="135"/>
                  </a:lnTo>
                  <a:lnTo>
                    <a:pt x="32" y="127"/>
                  </a:lnTo>
                  <a:lnTo>
                    <a:pt x="35" y="117"/>
                  </a:lnTo>
                  <a:lnTo>
                    <a:pt x="39" y="108"/>
                  </a:lnTo>
                  <a:lnTo>
                    <a:pt x="44" y="101"/>
                  </a:lnTo>
                  <a:lnTo>
                    <a:pt x="50" y="94"/>
                  </a:lnTo>
                  <a:lnTo>
                    <a:pt x="57" y="89"/>
                  </a:lnTo>
                  <a:lnTo>
                    <a:pt x="65" y="85"/>
                  </a:lnTo>
                  <a:lnTo>
                    <a:pt x="73" y="82"/>
                  </a:lnTo>
                  <a:lnTo>
                    <a:pt x="82" y="79"/>
                  </a:lnTo>
                  <a:lnTo>
                    <a:pt x="91" y="78"/>
                  </a:lnTo>
                  <a:lnTo>
                    <a:pt x="101" y="78"/>
                  </a:lnTo>
                  <a:lnTo>
                    <a:pt x="105" y="79"/>
                  </a:lnTo>
                  <a:lnTo>
                    <a:pt x="111" y="77"/>
                  </a:lnTo>
                  <a:lnTo>
                    <a:pt x="114" y="74"/>
                  </a:lnTo>
                  <a:lnTo>
                    <a:pt x="117" y="70"/>
                  </a:lnTo>
                  <a:lnTo>
                    <a:pt x="121" y="61"/>
                  </a:lnTo>
                  <a:lnTo>
                    <a:pt x="126" y="54"/>
                  </a:lnTo>
                  <a:lnTo>
                    <a:pt x="132" y="47"/>
                  </a:lnTo>
                  <a:lnTo>
                    <a:pt x="139" y="41"/>
                  </a:lnTo>
                  <a:lnTo>
                    <a:pt x="147" y="37"/>
                  </a:lnTo>
                  <a:lnTo>
                    <a:pt x="156" y="33"/>
                  </a:lnTo>
                  <a:lnTo>
                    <a:pt x="164" y="31"/>
                  </a:lnTo>
                  <a:lnTo>
                    <a:pt x="174" y="30"/>
                  </a:lnTo>
                  <a:lnTo>
                    <a:pt x="182" y="31"/>
                  </a:lnTo>
                  <a:lnTo>
                    <a:pt x="192" y="33"/>
                  </a:lnTo>
                  <a:lnTo>
                    <a:pt x="199" y="37"/>
                  </a:lnTo>
                  <a:lnTo>
                    <a:pt x="208" y="41"/>
                  </a:lnTo>
                  <a:lnTo>
                    <a:pt x="214" y="47"/>
                  </a:lnTo>
                  <a:lnTo>
                    <a:pt x="221" y="54"/>
                  </a:lnTo>
                  <a:lnTo>
                    <a:pt x="226" y="61"/>
                  </a:lnTo>
                  <a:lnTo>
                    <a:pt x="229" y="70"/>
                  </a:lnTo>
                  <a:lnTo>
                    <a:pt x="233" y="74"/>
                  </a:lnTo>
                  <a:lnTo>
                    <a:pt x="236" y="77"/>
                  </a:lnTo>
                  <a:lnTo>
                    <a:pt x="241" y="79"/>
                  </a:lnTo>
                  <a:lnTo>
                    <a:pt x="246" y="78"/>
                  </a:lnTo>
                  <a:lnTo>
                    <a:pt x="255" y="78"/>
                  </a:lnTo>
                  <a:lnTo>
                    <a:pt x="265" y="79"/>
                  </a:lnTo>
                  <a:lnTo>
                    <a:pt x="273" y="82"/>
                  </a:lnTo>
                  <a:lnTo>
                    <a:pt x="282" y="85"/>
                  </a:lnTo>
                  <a:lnTo>
                    <a:pt x="289" y="89"/>
                  </a:lnTo>
                  <a:lnTo>
                    <a:pt x="297" y="94"/>
                  </a:lnTo>
                  <a:lnTo>
                    <a:pt x="303" y="101"/>
                  </a:lnTo>
                  <a:lnTo>
                    <a:pt x="307" y="108"/>
                  </a:lnTo>
                  <a:lnTo>
                    <a:pt x="312" y="117"/>
                  </a:lnTo>
                  <a:lnTo>
                    <a:pt x="315" y="127"/>
                  </a:lnTo>
                  <a:lnTo>
                    <a:pt x="316" y="135"/>
                  </a:lnTo>
                  <a:lnTo>
                    <a:pt x="316" y="144"/>
                  </a:lnTo>
                  <a:lnTo>
                    <a:pt x="315" y="152"/>
                  </a:lnTo>
                  <a:lnTo>
                    <a:pt x="312" y="162"/>
                  </a:lnTo>
                  <a:lnTo>
                    <a:pt x="307" y="169"/>
                  </a:lnTo>
                  <a:lnTo>
                    <a:pt x="302" y="178"/>
                  </a:lnTo>
                  <a:lnTo>
                    <a:pt x="300" y="182"/>
                  </a:lnTo>
                  <a:lnTo>
                    <a:pt x="299" y="186"/>
                  </a:lnTo>
                  <a:lnTo>
                    <a:pt x="300" y="191"/>
                  </a:lnTo>
                  <a:lnTo>
                    <a:pt x="302" y="196"/>
                  </a:lnTo>
                  <a:lnTo>
                    <a:pt x="307" y="204"/>
                  </a:lnTo>
                  <a:lnTo>
                    <a:pt x="312" y="212"/>
                  </a:lnTo>
                  <a:lnTo>
                    <a:pt x="315" y="221"/>
                  </a:lnTo>
                  <a:lnTo>
                    <a:pt x="316" y="229"/>
                  </a:lnTo>
                  <a:lnTo>
                    <a:pt x="316" y="238"/>
                  </a:lnTo>
                  <a:lnTo>
                    <a:pt x="315" y="247"/>
                  </a:lnTo>
                  <a:lnTo>
                    <a:pt x="312" y="256"/>
                  </a:lnTo>
                  <a:lnTo>
                    <a:pt x="307" y="265"/>
                  </a:lnTo>
                  <a:lnTo>
                    <a:pt x="303" y="272"/>
                  </a:lnTo>
                  <a:lnTo>
                    <a:pt x="297" y="278"/>
                  </a:lnTo>
                  <a:lnTo>
                    <a:pt x="289" y="285"/>
                  </a:lnTo>
                  <a:lnTo>
                    <a:pt x="282" y="289"/>
                  </a:lnTo>
                  <a:lnTo>
                    <a:pt x="273" y="292"/>
                  </a:lnTo>
                  <a:lnTo>
                    <a:pt x="265" y="293"/>
                  </a:lnTo>
                  <a:lnTo>
                    <a:pt x="255" y="295"/>
                  </a:lnTo>
                  <a:lnTo>
                    <a:pt x="246" y="293"/>
                  </a:lnTo>
                  <a:lnTo>
                    <a:pt x="241" y="295"/>
                  </a:lnTo>
                  <a:lnTo>
                    <a:pt x="236" y="296"/>
                  </a:lnTo>
                  <a:lnTo>
                    <a:pt x="233" y="299"/>
                  </a:lnTo>
                  <a:lnTo>
                    <a:pt x="229" y="302"/>
                  </a:lnTo>
                  <a:lnTo>
                    <a:pt x="226" y="311"/>
                  </a:lnTo>
                  <a:lnTo>
                    <a:pt x="221" y="319"/>
                  </a:lnTo>
                  <a:lnTo>
                    <a:pt x="214" y="326"/>
                  </a:lnTo>
                  <a:lnTo>
                    <a:pt x="208" y="331"/>
                  </a:lnTo>
                  <a:lnTo>
                    <a:pt x="199" y="335"/>
                  </a:lnTo>
                  <a:lnTo>
                    <a:pt x="192" y="338"/>
                  </a:lnTo>
                  <a:lnTo>
                    <a:pt x="182" y="341"/>
                  </a:lnTo>
                  <a:lnTo>
                    <a:pt x="174" y="342"/>
                  </a:lnTo>
                  <a:lnTo>
                    <a:pt x="164" y="341"/>
                  </a:lnTo>
                  <a:lnTo>
                    <a:pt x="156" y="338"/>
                  </a:lnTo>
                  <a:lnTo>
                    <a:pt x="147" y="335"/>
                  </a:lnTo>
                  <a:lnTo>
                    <a:pt x="139" y="331"/>
                  </a:lnTo>
                  <a:lnTo>
                    <a:pt x="132" y="326"/>
                  </a:lnTo>
                  <a:lnTo>
                    <a:pt x="126" y="319"/>
                  </a:lnTo>
                  <a:lnTo>
                    <a:pt x="121" y="311"/>
                  </a:lnTo>
                  <a:lnTo>
                    <a:pt x="117" y="302"/>
                  </a:lnTo>
                  <a:lnTo>
                    <a:pt x="115" y="299"/>
                  </a:lnTo>
                  <a:lnTo>
                    <a:pt x="112" y="297"/>
                  </a:lnTo>
                  <a:lnTo>
                    <a:pt x="107" y="295"/>
                  </a:lnTo>
                  <a:lnTo>
                    <a:pt x="103" y="293"/>
                  </a:lnTo>
                  <a:lnTo>
                    <a:pt x="102" y="293"/>
                  </a:lnTo>
                  <a:lnTo>
                    <a:pt x="101" y="293"/>
                  </a:lnTo>
                  <a:lnTo>
                    <a:pt x="91" y="295"/>
                  </a:lnTo>
                  <a:lnTo>
                    <a:pt x="82" y="293"/>
                  </a:lnTo>
                  <a:lnTo>
                    <a:pt x="73" y="292"/>
                  </a:lnTo>
                  <a:lnTo>
                    <a:pt x="65" y="289"/>
                  </a:lnTo>
                  <a:lnTo>
                    <a:pt x="57" y="285"/>
                  </a:lnTo>
                  <a:lnTo>
                    <a:pt x="50" y="278"/>
                  </a:lnTo>
                  <a:lnTo>
                    <a:pt x="44" y="272"/>
                  </a:lnTo>
                  <a:lnTo>
                    <a:pt x="39" y="265"/>
                  </a:lnTo>
                  <a:lnTo>
                    <a:pt x="35" y="256"/>
                  </a:lnTo>
                  <a:lnTo>
                    <a:pt x="32" y="247"/>
                  </a:lnTo>
                  <a:lnTo>
                    <a:pt x="30" y="238"/>
                  </a:lnTo>
                  <a:lnTo>
                    <a:pt x="30" y="229"/>
                  </a:lnTo>
                  <a:lnTo>
                    <a:pt x="32" y="221"/>
                  </a:lnTo>
                  <a:lnTo>
                    <a:pt x="35" y="212"/>
                  </a:lnTo>
                  <a:lnTo>
                    <a:pt x="39" y="204"/>
                  </a:lnTo>
                  <a:lnTo>
                    <a:pt x="44" y="196"/>
                  </a:lnTo>
                  <a:close/>
                  <a:moveTo>
                    <a:pt x="332" y="186"/>
                  </a:moveTo>
                  <a:lnTo>
                    <a:pt x="338" y="176"/>
                  </a:lnTo>
                  <a:lnTo>
                    <a:pt x="343" y="164"/>
                  </a:lnTo>
                  <a:lnTo>
                    <a:pt x="345" y="153"/>
                  </a:lnTo>
                  <a:lnTo>
                    <a:pt x="346" y="140"/>
                  </a:lnTo>
                  <a:lnTo>
                    <a:pt x="346" y="129"/>
                  </a:lnTo>
                  <a:lnTo>
                    <a:pt x="343" y="117"/>
                  </a:lnTo>
                  <a:lnTo>
                    <a:pt x="340" y="105"/>
                  </a:lnTo>
                  <a:lnTo>
                    <a:pt x="334" y="93"/>
                  </a:lnTo>
                  <a:lnTo>
                    <a:pt x="327" y="84"/>
                  </a:lnTo>
                  <a:lnTo>
                    <a:pt x="319" y="74"/>
                  </a:lnTo>
                  <a:lnTo>
                    <a:pt x="310" y="67"/>
                  </a:lnTo>
                  <a:lnTo>
                    <a:pt x="300" y="60"/>
                  </a:lnTo>
                  <a:lnTo>
                    <a:pt x="288" y="55"/>
                  </a:lnTo>
                  <a:lnTo>
                    <a:pt x="278" y="52"/>
                  </a:lnTo>
                  <a:lnTo>
                    <a:pt x="266" y="49"/>
                  </a:lnTo>
                  <a:lnTo>
                    <a:pt x="253" y="48"/>
                  </a:lnTo>
                  <a:lnTo>
                    <a:pt x="246" y="39"/>
                  </a:lnTo>
                  <a:lnTo>
                    <a:pt x="239" y="29"/>
                  </a:lnTo>
                  <a:lnTo>
                    <a:pt x="229" y="21"/>
                  </a:lnTo>
                  <a:lnTo>
                    <a:pt x="220" y="14"/>
                  </a:lnTo>
                  <a:lnTo>
                    <a:pt x="209" y="9"/>
                  </a:lnTo>
                  <a:lnTo>
                    <a:pt x="198" y="5"/>
                  </a:lnTo>
                  <a:lnTo>
                    <a:pt x="185" y="1"/>
                  </a:lnTo>
                  <a:lnTo>
                    <a:pt x="174" y="0"/>
                  </a:lnTo>
                  <a:lnTo>
                    <a:pt x="161" y="1"/>
                  </a:lnTo>
                  <a:lnTo>
                    <a:pt x="149" y="5"/>
                  </a:lnTo>
                  <a:lnTo>
                    <a:pt x="137" y="9"/>
                  </a:lnTo>
                  <a:lnTo>
                    <a:pt x="127" y="14"/>
                  </a:lnTo>
                  <a:lnTo>
                    <a:pt x="117" y="21"/>
                  </a:lnTo>
                  <a:lnTo>
                    <a:pt x="108" y="29"/>
                  </a:lnTo>
                  <a:lnTo>
                    <a:pt x="100" y="39"/>
                  </a:lnTo>
                  <a:lnTo>
                    <a:pt x="93" y="48"/>
                  </a:lnTo>
                  <a:lnTo>
                    <a:pt x="82" y="49"/>
                  </a:lnTo>
                  <a:lnTo>
                    <a:pt x="69" y="52"/>
                  </a:lnTo>
                  <a:lnTo>
                    <a:pt x="58" y="56"/>
                  </a:lnTo>
                  <a:lnTo>
                    <a:pt x="46" y="60"/>
                  </a:lnTo>
                  <a:lnTo>
                    <a:pt x="37" y="67"/>
                  </a:lnTo>
                  <a:lnTo>
                    <a:pt x="27" y="75"/>
                  </a:lnTo>
                  <a:lnTo>
                    <a:pt x="20" y="84"/>
                  </a:lnTo>
                  <a:lnTo>
                    <a:pt x="13" y="93"/>
                  </a:lnTo>
                  <a:lnTo>
                    <a:pt x="7" y="105"/>
                  </a:lnTo>
                  <a:lnTo>
                    <a:pt x="4" y="117"/>
                  </a:lnTo>
                  <a:lnTo>
                    <a:pt x="1" y="129"/>
                  </a:lnTo>
                  <a:lnTo>
                    <a:pt x="0" y="140"/>
                  </a:lnTo>
                  <a:lnTo>
                    <a:pt x="1" y="153"/>
                  </a:lnTo>
                  <a:lnTo>
                    <a:pt x="5" y="164"/>
                  </a:lnTo>
                  <a:lnTo>
                    <a:pt x="8" y="176"/>
                  </a:lnTo>
                  <a:lnTo>
                    <a:pt x="14" y="186"/>
                  </a:lnTo>
                  <a:lnTo>
                    <a:pt x="8" y="198"/>
                  </a:lnTo>
                  <a:lnTo>
                    <a:pt x="5" y="209"/>
                  </a:lnTo>
                  <a:lnTo>
                    <a:pt x="1" y="221"/>
                  </a:lnTo>
                  <a:lnTo>
                    <a:pt x="0" y="232"/>
                  </a:lnTo>
                  <a:lnTo>
                    <a:pt x="1" y="245"/>
                  </a:lnTo>
                  <a:lnTo>
                    <a:pt x="4" y="257"/>
                  </a:lnTo>
                  <a:lnTo>
                    <a:pt x="7" y="269"/>
                  </a:lnTo>
                  <a:lnTo>
                    <a:pt x="13" y="280"/>
                  </a:lnTo>
                  <a:lnTo>
                    <a:pt x="20" y="289"/>
                  </a:lnTo>
                  <a:lnTo>
                    <a:pt x="27" y="298"/>
                  </a:lnTo>
                  <a:lnTo>
                    <a:pt x="36" y="305"/>
                  </a:lnTo>
                  <a:lnTo>
                    <a:pt x="45" y="312"/>
                  </a:lnTo>
                  <a:lnTo>
                    <a:pt x="45" y="546"/>
                  </a:lnTo>
                  <a:lnTo>
                    <a:pt x="46" y="550"/>
                  </a:lnTo>
                  <a:lnTo>
                    <a:pt x="47" y="555"/>
                  </a:lnTo>
                  <a:lnTo>
                    <a:pt x="51" y="558"/>
                  </a:lnTo>
                  <a:lnTo>
                    <a:pt x="54" y="559"/>
                  </a:lnTo>
                  <a:lnTo>
                    <a:pt x="58" y="561"/>
                  </a:lnTo>
                  <a:lnTo>
                    <a:pt x="62" y="561"/>
                  </a:lnTo>
                  <a:lnTo>
                    <a:pt x="66" y="560"/>
                  </a:lnTo>
                  <a:lnTo>
                    <a:pt x="70" y="558"/>
                  </a:lnTo>
                  <a:lnTo>
                    <a:pt x="181" y="475"/>
                  </a:lnTo>
                  <a:lnTo>
                    <a:pt x="292" y="558"/>
                  </a:lnTo>
                  <a:lnTo>
                    <a:pt x="294" y="560"/>
                  </a:lnTo>
                  <a:lnTo>
                    <a:pt x="297" y="560"/>
                  </a:lnTo>
                  <a:lnTo>
                    <a:pt x="299" y="561"/>
                  </a:lnTo>
                  <a:lnTo>
                    <a:pt x="301" y="561"/>
                  </a:lnTo>
                  <a:lnTo>
                    <a:pt x="304" y="561"/>
                  </a:lnTo>
                  <a:lnTo>
                    <a:pt x="307" y="559"/>
                  </a:lnTo>
                  <a:lnTo>
                    <a:pt x="311" y="558"/>
                  </a:lnTo>
                  <a:lnTo>
                    <a:pt x="314" y="555"/>
                  </a:lnTo>
                  <a:lnTo>
                    <a:pt x="315" y="550"/>
                  </a:lnTo>
                  <a:lnTo>
                    <a:pt x="316" y="546"/>
                  </a:lnTo>
                  <a:lnTo>
                    <a:pt x="316" y="301"/>
                  </a:lnTo>
                  <a:lnTo>
                    <a:pt x="326" y="291"/>
                  </a:lnTo>
                  <a:lnTo>
                    <a:pt x="334" y="280"/>
                  </a:lnTo>
                  <a:lnTo>
                    <a:pt x="340" y="269"/>
                  </a:lnTo>
                  <a:lnTo>
                    <a:pt x="343" y="257"/>
                  </a:lnTo>
                  <a:lnTo>
                    <a:pt x="346" y="245"/>
                  </a:lnTo>
                  <a:lnTo>
                    <a:pt x="346" y="232"/>
                  </a:lnTo>
                  <a:lnTo>
                    <a:pt x="345" y="221"/>
                  </a:lnTo>
                  <a:lnTo>
                    <a:pt x="343" y="209"/>
                  </a:lnTo>
                  <a:lnTo>
                    <a:pt x="338" y="198"/>
                  </a:lnTo>
                  <a:lnTo>
                    <a:pt x="332" y="1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3" name="Picture 2" descr="Chart, bar chart&#10;&#10;Description automatically generated">
            <a:extLst>
              <a:ext uri="{FF2B5EF4-FFF2-40B4-BE49-F238E27FC236}">
                <a16:creationId xmlns:a16="http://schemas.microsoft.com/office/drawing/2014/main" id="{C479D052-D271-476D-B602-F0DD6B0F00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7138" y="-364834"/>
            <a:ext cx="8785738" cy="6858000"/>
          </a:xfrm>
          <a:prstGeom prst="rect">
            <a:avLst/>
          </a:prstGeom>
        </p:spPr>
      </p:pic>
      <p:sp>
        <p:nvSpPr>
          <p:cNvPr id="37" name="Rectangle 36">
            <a:extLst>
              <a:ext uri="{FF2B5EF4-FFF2-40B4-BE49-F238E27FC236}">
                <a16:creationId xmlns:a16="http://schemas.microsoft.com/office/drawing/2014/main" id="{C638389E-CE9D-4FBD-A882-9ACFA806F455}"/>
              </a:ext>
            </a:extLst>
          </p:cNvPr>
          <p:cNvSpPr/>
          <p:nvPr/>
        </p:nvSpPr>
        <p:spPr>
          <a:xfrm>
            <a:off x="7962387" y="3265126"/>
            <a:ext cx="3893574" cy="1723549"/>
          </a:xfrm>
          <a:prstGeom prst="rect">
            <a:avLst/>
          </a:prstGeom>
        </p:spPr>
        <p:txBody>
          <a:bodyPr wrap="square" lIns="0" tIns="0" rIns="0" bIns="0">
            <a:spAutoFit/>
          </a:bodyPr>
          <a:lstStyle/>
          <a:p>
            <a:r>
              <a:rPr lang="en-AU" sz="1400" b="0" i="0" dirty="0">
                <a:solidFill>
                  <a:srgbClr val="000000"/>
                </a:solidFill>
                <a:effectLst/>
                <a:latin typeface="Helvetica Neue"/>
              </a:rPr>
              <a:t>The insights we can get from the plots that gender doesn't show stroke having a greater impact We also </a:t>
            </a:r>
            <a:r>
              <a:rPr lang="en-AU" sz="1400" b="0" i="0" dirty="0" err="1">
                <a:solidFill>
                  <a:srgbClr val="000000"/>
                </a:solidFill>
                <a:effectLst/>
                <a:latin typeface="Helvetica Neue"/>
              </a:rPr>
              <a:t>observerd</a:t>
            </a:r>
            <a:r>
              <a:rPr lang="en-AU" sz="1400" b="0" i="0" dirty="0">
                <a:solidFill>
                  <a:srgbClr val="000000"/>
                </a:solidFill>
                <a:effectLst/>
                <a:latin typeface="Helvetica Neue"/>
              </a:rPr>
              <a:t> that their is a correlation between stroke and heart disease as well as hypertension Another observation is that we can see the difference between people in rural areas and urban areas. Urban get more stroke while rural people get stroke</a:t>
            </a:r>
            <a:r>
              <a:rPr lang="en-US" sz="1400" dirty="0"/>
              <a:t> </a:t>
            </a:r>
          </a:p>
        </p:txBody>
      </p:sp>
    </p:spTree>
    <p:extLst>
      <p:ext uri="{BB962C8B-B14F-4D97-AF65-F5344CB8AC3E}">
        <p14:creationId xmlns:p14="http://schemas.microsoft.com/office/powerpoint/2010/main" val="42151267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AADD15-EF19-4140-88C7-FA18D3670B4A}"/>
              </a:ext>
            </a:extLst>
          </p:cNvPr>
          <p:cNvSpPr txBox="1"/>
          <p:nvPr/>
        </p:nvSpPr>
        <p:spPr>
          <a:xfrm>
            <a:off x="431800" y="191214"/>
            <a:ext cx="11328400" cy="738664"/>
          </a:xfrm>
          <a:prstGeom prst="rect">
            <a:avLst/>
          </a:prstGeom>
          <a:noFill/>
        </p:spPr>
        <p:txBody>
          <a:bodyPr wrap="square" lIns="0" tIns="0" rIns="0" bIns="0" rtlCol="0" anchor="t">
            <a:spAutoFit/>
          </a:bodyPr>
          <a:lstStyle/>
          <a:p>
            <a:pPr algn="ctr"/>
            <a:r>
              <a:rPr lang="en-US" sz="4800" dirty="0">
                <a:solidFill>
                  <a:schemeClr val="tx2"/>
                </a:solidFill>
                <a:latin typeface="+mj-lt"/>
              </a:rPr>
              <a:t>Statistical Analysis</a:t>
            </a:r>
          </a:p>
        </p:txBody>
      </p:sp>
      <p:grpSp>
        <p:nvGrpSpPr>
          <p:cNvPr id="5" name="Group 4">
            <a:extLst>
              <a:ext uri="{FF2B5EF4-FFF2-40B4-BE49-F238E27FC236}">
                <a16:creationId xmlns:a16="http://schemas.microsoft.com/office/drawing/2014/main" id="{D903D880-2121-4AF1-AB91-4DE7F5B28CF3}"/>
              </a:ext>
            </a:extLst>
          </p:cNvPr>
          <p:cNvGrpSpPr/>
          <p:nvPr/>
        </p:nvGrpSpPr>
        <p:grpSpPr>
          <a:xfrm>
            <a:off x="5319855" y="6478321"/>
            <a:ext cx="1552291" cy="121183"/>
            <a:chOff x="4665436" y="4689691"/>
            <a:chExt cx="2415114" cy="121183"/>
          </a:xfrm>
        </p:grpSpPr>
        <p:sp>
          <p:nvSpPr>
            <p:cNvPr id="6" name="Rectangle: Rounded Corners 5">
              <a:extLst>
                <a:ext uri="{FF2B5EF4-FFF2-40B4-BE49-F238E27FC236}">
                  <a16:creationId xmlns:a16="http://schemas.microsoft.com/office/drawing/2014/main" id="{BC7BF908-FDDB-4BF7-BD98-0F1BBFA71B88}"/>
                </a:ext>
              </a:extLst>
            </p:cNvPr>
            <p:cNvSpPr/>
            <p:nvPr/>
          </p:nvSpPr>
          <p:spPr>
            <a:xfrm>
              <a:off x="4665436" y="4689691"/>
              <a:ext cx="1075758" cy="121183"/>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Rounded Corners 6">
              <a:extLst>
                <a:ext uri="{FF2B5EF4-FFF2-40B4-BE49-F238E27FC236}">
                  <a16:creationId xmlns:a16="http://schemas.microsoft.com/office/drawing/2014/main" id="{B1F27A12-06B2-470B-96A1-37F027DD98F8}"/>
                </a:ext>
              </a:extLst>
            </p:cNvPr>
            <p:cNvSpPr/>
            <p:nvPr/>
          </p:nvSpPr>
          <p:spPr>
            <a:xfrm>
              <a:off x="6004792" y="4689691"/>
              <a:ext cx="1075758" cy="121183"/>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Date Placeholder 7">
            <a:extLst>
              <a:ext uri="{FF2B5EF4-FFF2-40B4-BE49-F238E27FC236}">
                <a16:creationId xmlns:a16="http://schemas.microsoft.com/office/drawing/2014/main" id="{ED17E5F7-A895-4DA2-9E2E-33870877DB5B}"/>
              </a:ext>
            </a:extLst>
          </p:cNvPr>
          <p:cNvSpPr>
            <a:spLocks noGrp="1"/>
          </p:cNvSpPr>
          <p:nvPr>
            <p:ph type="dt" sz="half" idx="10"/>
          </p:nvPr>
        </p:nvSpPr>
        <p:spPr>
          <a:xfrm>
            <a:off x="838200" y="63563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0B399E3-31DF-49D3-B858-F8F109171C56}" type="datetimeFigureOut">
              <a:rPr lang="en-US" smtClean="0"/>
              <a:pPr/>
              <a:t>3/25/2021</a:t>
            </a:fld>
            <a:endParaRPr lang="en-US"/>
          </a:p>
        </p:txBody>
      </p:sp>
      <p:sp>
        <p:nvSpPr>
          <p:cNvPr id="9" name="Slide Number Placeholder 8">
            <a:extLst>
              <a:ext uri="{FF2B5EF4-FFF2-40B4-BE49-F238E27FC236}">
                <a16:creationId xmlns:a16="http://schemas.microsoft.com/office/drawing/2014/main" id="{DAA389C8-B2EE-4FCB-A752-D81FA60401A6}"/>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794E2DD-4F38-4D2A-97E5-5D7467AA1DEC}" type="slidenum">
              <a:rPr lang="en-US" smtClean="0"/>
              <a:pPr/>
              <a:t>12</a:t>
            </a:fld>
            <a:endParaRPr lang="en-US"/>
          </a:p>
        </p:txBody>
      </p:sp>
      <p:graphicFrame>
        <p:nvGraphicFramePr>
          <p:cNvPr id="31" name="Table 30">
            <a:extLst>
              <a:ext uri="{FF2B5EF4-FFF2-40B4-BE49-F238E27FC236}">
                <a16:creationId xmlns:a16="http://schemas.microsoft.com/office/drawing/2014/main" id="{127EDD55-11E4-4AC6-ADAB-3087A724F798}"/>
              </a:ext>
            </a:extLst>
          </p:cNvPr>
          <p:cNvGraphicFramePr>
            <a:graphicFrameLocks noGrp="1"/>
          </p:cNvGraphicFramePr>
          <p:nvPr>
            <p:extLst>
              <p:ext uri="{D42A27DB-BD31-4B8C-83A1-F6EECF244321}">
                <p14:modId xmlns:p14="http://schemas.microsoft.com/office/powerpoint/2010/main" val="1408700522"/>
              </p:ext>
            </p:extLst>
          </p:nvPr>
        </p:nvGraphicFramePr>
        <p:xfrm>
          <a:off x="514355" y="1146276"/>
          <a:ext cx="11163290" cy="3654628"/>
        </p:xfrm>
        <a:graphic>
          <a:graphicData uri="http://schemas.openxmlformats.org/drawingml/2006/table">
            <a:tbl>
              <a:tblPr firstRow="1" bandRow="1">
                <a:tableStyleId>{5C22544A-7EE6-4342-B048-85BDC9FD1C3A}</a:tableStyleId>
              </a:tblPr>
              <a:tblGrid>
                <a:gridCol w="1116329">
                  <a:extLst>
                    <a:ext uri="{9D8B030D-6E8A-4147-A177-3AD203B41FA5}">
                      <a16:colId xmlns:a16="http://schemas.microsoft.com/office/drawing/2014/main" val="2564411398"/>
                    </a:ext>
                  </a:extLst>
                </a:gridCol>
                <a:gridCol w="1116329">
                  <a:extLst>
                    <a:ext uri="{9D8B030D-6E8A-4147-A177-3AD203B41FA5}">
                      <a16:colId xmlns:a16="http://schemas.microsoft.com/office/drawing/2014/main" val="2851696159"/>
                    </a:ext>
                  </a:extLst>
                </a:gridCol>
                <a:gridCol w="1116329">
                  <a:extLst>
                    <a:ext uri="{9D8B030D-6E8A-4147-A177-3AD203B41FA5}">
                      <a16:colId xmlns:a16="http://schemas.microsoft.com/office/drawing/2014/main" val="1005280288"/>
                    </a:ext>
                  </a:extLst>
                </a:gridCol>
                <a:gridCol w="1116329">
                  <a:extLst>
                    <a:ext uri="{9D8B030D-6E8A-4147-A177-3AD203B41FA5}">
                      <a16:colId xmlns:a16="http://schemas.microsoft.com/office/drawing/2014/main" val="796509677"/>
                    </a:ext>
                  </a:extLst>
                </a:gridCol>
                <a:gridCol w="1116329">
                  <a:extLst>
                    <a:ext uri="{9D8B030D-6E8A-4147-A177-3AD203B41FA5}">
                      <a16:colId xmlns:a16="http://schemas.microsoft.com/office/drawing/2014/main" val="576146675"/>
                    </a:ext>
                  </a:extLst>
                </a:gridCol>
                <a:gridCol w="1116329">
                  <a:extLst>
                    <a:ext uri="{9D8B030D-6E8A-4147-A177-3AD203B41FA5}">
                      <a16:colId xmlns:a16="http://schemas.microsoft.com/office/drawing/2014/main" val="1204493047"/>
                    </a:ext>
                  </a:extLst>
                </a:gridCol>
                <a:gridCol w="1116329">
                  <a:extLst>
                    <a:ext uri="{9D8B030D-6E8A-4147-A177-3AD203B41FA5}">
                      <a16:colId xmlns:a16="http://schemas.microsoft.com/office/drawing/2014/main" val="4047152836"/>
                    </a:ext>
                  </a:extLst>
                </a:gridCol>
                <a:gridCol w="1116329">
                  <a:extLst>
                    <a:ext uri="{9D8B030D-6E8A-4147-A177-3AD203B41FA5}">
                      <a16:colId xmlns:a16="http://schemas.microsoft.com/office/drawing/2014/main" val="1401925559"/>
                    </a:ext>
                  </a:extLst>
                </a:gridCol>
                <a:gridCol w="1116329">
                  <a:extLst>
                    <a:ext uri="{9D8B030D-6E8A-4147-A177-3AD203B41FA5}">
                      <a16:colId xmlns:a16="http://schemas.microsoft.com/office/drawing/2014/main" val="2877765805"/>
                    </a:ext>
                  </a:extLst>
                </a:gridCol>
                <a:gridCol w="1116329">
                  <a:extLst>
                    <a:ext uri="{9D8B030D-6E8A-4147-A177-3AD203B41FA5}">
                      <a16:colId xmlns:a16="http://schemas.microsoft.com/office/drawing/2014/main" val="3744357276"/>
                    </a:ext>
                  </a:extLst>
                </a:gridCol>
              </a:tblGrid>
              <a:tr h="1933241">
                <a:tc>
                  <a:txBody>
                    <a:bodyPr/>
                    <a:lstStyle/>
                    <a:p>
                      <a:pPr algn="ctr"/>
                      <a:endParaRPr lang="en-US" sz="1600" dirty="0"/>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dirty="0"/>
                        <a:t>Ag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dirty="0"/>
                        <a:t>Gend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dirty="0"/>
                        <a:t>Hypertension</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dirty="0" err="1"/>
                        <a:t>Heartdisease</a:t>
                      </a:r>
                      <a:endParaRPr lang="en-US" sz="160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dirty="0" err="1"/>
                        <a:t>Ever_married</a:t>
                      </a:r>
                      <a:endParaRPr lang="en-US" sz="160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dirty="0"/>
                        <a:t>BMI</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dirty="0" err="1"/>
                        <a:t>Avg_glucose_level</a:t>
                      </a:r>
                      <a:endParaRPr lang="en-US" sz="160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dirty="0" err="1"/>
                        <a:t>Smoking_status</a:t>
                      </a:r>
                      <a:endParaRPr lang="en-US" sz="160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dirty="0" err="1"/>
                        <a:t>Work_type</a:t>
                      </a:r>
                      <a:endParaRPr lang="en-US" sz="1600" dirty="0"/>
                    </a:p>
                  </a:txBody>
                  <a:tcPr anchor="ctr">
                    <a:lnL w="6350" cap="flat" cmpd="sng" algn="ctr">
                      <a:solidFill>
                        <a:schemeClr val="bg1"/>
                      </a:solidFill>
                      <a:prstDash val="solid"/>
                      <a:round/>
                      <a:headEnd type="none" w="med" len="med"/>
                      <a:tailEnd type="none" w="med" len="med"/>
                    </a:lnL>
                    <a:lnR w="12700" cmpd="sng">
                      <a:noFill/>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8385598"/>
                  </a:ext>
                </a:extLst>
              </a:tr>
              <a:tr h="1721387">
                <a:tc>
                  <a:txBody>
                    <a:bodyPr/>
                    <a:lstStyle/>
                    <a:p>
                      <a:pPr algn="ctr"/>
                      <a:r>
                        <a:rPr lang="en-US" sz="1200" dirty="0">
                          <a:solidFill>
                            <a:schemeClr val="bg1"/>
                          </a:solidFill>
                        </a:rPr>
                        <a:t>Stroke</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dirty="0"/>
                        <a:t>0.242</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dirty="0"/>
                        <a:t>0.008</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dirty="0"/>
                        <a:t>0.127</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dirty="0"/>
                        <a:t>0.134</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dirty="0"/>
                        <a:t>0.108</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dirty="0"/>
                        <a:t>0.11</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dirty="0"/>
                        <a:t>0.08</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dirty="0"/>
                        <a:t>0.028</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dirty="0"/>
                        <a:t>-0.03</a:t>
                      </a:r>
                    </a:p>
                  </a:txBody>
                  <a:tcPr anchor="ctr">
                    <a:lnL w="6350" cap="flat" cmpd="sng" algn="ctr">
                      <a:solidFill>
                        <a:schemeClr val="bg1"/>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728516819"/>
                  </a:ext>
                </a:extLst>
              </a:tr>
            </a:tbl>
          </a:graphicData>
        </a:graphic>
      </p:graphicFrame>
      <p:sp>
        <p:nvSpPr>
          <p:cNvPr id="33" name="Freeform 931">
            <a:extLst>
              <a:ext uri="{FF2B5EF4-FFF2-40B4-BE49-F238E27FC236}">
                <a16:creationId xmlns:a16="http://schemas.microsoft.com/office/drawing/2014/main" id="{18F32A1D-71CA-4AD5-9539-FAF183805419}"/>
              </a:ext>
            </a:extLst>
          </p:cNvPr>
          <p:cNvSpPr>
            <a:spLocks noEditPoints="1"/>
          </p:cNvSpPr>
          <p:nvPr/>
        </p:nvSpPr>
        <p:spPr bwMode="auto">
          <a:xfrm>
            <a:off x="941546" y="2254748"/>
            <a:ext cx="219075" cy="285750"/>
          </a:xfrm>
          <a:custGeom>
            <a:avLst/>
            <a:gdLst>
              <a:gd name="T0" fmla="*/ 348 w 553"/>
              <a:gd name="T1" fmla="*/ 11 h 722"/>
              <a:gd name="T2" fmla="*/ 348 w 553"/>
              <a:gd name="T3" fmla="*/ 204 h 722"/>
              <a:gd name="T4" fmla="*/ 108 w 553"/>
              <a:gd name="T5" fmla="*/ 602 h 722"/>
              <a:gd name="T6" fmla="*/ 99 w 553"/>
              <a:gd name="T7" fmla="*/ 599 h 722"/>
              <a:gd name="T8" fmla="*/ 95 w 553"/>
              <a:gd name="T9" fmla="*/ 590 h 722"/>
              <a:gd name="T10" fmla="*/ 96 w 553"/>
              <a:gd name="T11" fmla="*/ 236 h 722"/>
              <a:gd name="T12" fmla="*/ 104 w 553"/>
              <a:gd name="T13" fmla="*/ 230 h 722"/>
              <a:gd name="T14" fmla="*/ 113 w 553"/>
              <a:gd name="T15" fmla="*/ 230 h 722"/>
              <a:gd name="T16" fmla="*/ 119 w 553"/>
              <a:gd name="T17" fmla="*/ 236 h 722"/>
              <a:gd name="T18" fmla="*/ 120 w 553"/>
              <a:gd name="T19" fmla="*/ 467 h 722"/>
              <a:gd name="T20" fmla="*/ 233 w 553"/>
              <a:gd name="T21" fmla="*/ 365 h 722"/>
              <a:gd name="T22" fmla="*/ 241 w 553"/>
              <a:gd name="T23" fmla="*/ 365 h 722"/>
              <a:gd name="T24" fmla="*/ 327 w 553"/>
              <a:gd name="T25" fmla="*/ 421 h 722"/>
              <a:gd name="T26" fmla="*/ 440 w 553"/>
              <a:gd name="T27" fmla="*/ 303 h 722"/>
              <a:gd name="T28" fmla="*/ 447 w 553"/>
              <a:gd name="T29" fmla="*/ 301 h 722"/>
              <a:gd name="T30" fmla="*/ 451 w 553"/>
              <a:gd name="T31" fmla="*/ 303 h 722"/>
              <a:gd name="T32" fmla="*/ 456 w 553"/>
              <a:gd name="T33" fmla="*/ 308 h 722"/>
              <a:gd name="T34" fmla="*/ 456 w 553"/>
              <a:gd name="T35" fmla="*/ 317 h 722"/>
              <a:gd name="T36" fmla="*/ 338 w 553"/>
              <a:gd name="T37" fmla="*/ 446 h 722"/>
              <a:gd name="T38" fmla="*/ 330 w 553"/>
              <a:gd name="T39" fmla="*/ 449 h 722"/>
              <a:gd name="T40" fmla="*/ 322 w 553"/>
              <a:gd name="T41" fmla="*/ 448 h 722"/>
              <a:gd name="T42" fmla="*/ 120 w 553"/>
              <a:gd name="T43" fmla="*/ 500 h 722"/>
              <a:gd name="T44" fmla="*/ 450 w 553"/>
              <a:gd name="T45" fmla="*/ 577 h 722"/>
              <a:gd name="T46" fmla="*/ 458 w 553"/>
              <a:gd name="T47" fmla="*/ 581 h 722"/>
              <a:gd name="T48" fmla="*/ 462 w 553"/>
              <a:gd name="T49" fmla="*/ 590 h 722"/>
              <a:gd name="T50" fmla="*/ 458 w 553"/>
              <a:gd name="T51" fmla="*/ 599 h 722"/>
              <a:gd name="T52" fmla="*/ 450 w 553"/>
              <a:gd name="T53" fmla="*/ 602 h 722"/>
              <a:gd name="T54" fmla="*/ 357 w 553"/>
              <a:gd name="T55" fmla="*/ 3 h 722"/>
              <a:gd name="T56" fmla="*/ 348 w 553"/>
              <a:gd name="T57" fmla="*/ 0 h 722"/>
              <a:gd name="T58" fmla="*/ 7 w 553"/>
              <a:gd name="T59" fmla="*/ 1 h 722"/>
              <a:gd name="T60" fmla="*/ 1 w 553"/>
              <a:gd name="T61" fmla="*/ 7 h 722"/>
              <a:gd name="T62" fmla="*/ 0 w 553"/>
              <a:gd name="T63" fmla="*/ 710 h 722"/>
              <a:gd name="T64" fmla="*/ 3 w 553"/>
              <a:gd name="T65" fmla="*/ 719 h 722"/>
              <a:gd name="T66" fmla="*/ 12 w 553"/>
              <a:gd name="T67" fmla="*/ 722 h 722"/>
              <a:gd name="T68" fmla="*/ 546 w 553"/>
              <a:gd name="T69" fmla="*/ 721 h 722"/>
              <a:gd name="T70" fmla="*/ 552 w 553"/>
              <a:gd name="T71" fmla="*/ 715 h 722"/>
              <a:gd name="T72" fmla="*/ 553 w 553"/>
              <a:gd name="T73" fmla="*/ 204 h 722"/>
              <a:gd name="T74" fmla="*/ 550 w 553"/>
              <a:gd name="T75" fmla="*/ 196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3" h="722">
                <a:moveTo>
                  <a:pt x="348" y="204"/>
                </a:moveTo>
                <a:lnTo>
                  <a:pt x="348" y="11"/>
                </a:lnTo>
                <a:lnTo>
                  <a:pt x="541" y="204"/>
                </a:lnTo>
                <a:lnTo>
                  <a:pt x="348" y="204"/>
                </a:lnTo>
                <a:close/>
                <a:moveTo>
                  <a:pt x="450" y="602"/>
                </a:moveTo>
                <a:lnTo>
                  <a:pt x="108" y="602"/>
                </a:lnTo>
                <a:lnTo>
                  <a:pt x="104" y="601"/>
                </a:lnTo>
                <a:lnTo>
                  <a:pt x="99" y="599"/>
                </a:lnTo>
                <a:lnTo>
                  <a:pt x="96" y="595"/>
                </a:lnTo>
                <a:lnTo>
                  <a:pt x="95" y="590"/>
                </a:lnTo>
                <a:lnTo>
                  <a:pt x="95" y="241"/>
                </a:lnTo>
                <a:lnTo>
                  <a:pt x="96" y="236"/>
                </a:lnTo>
                <a:lnTo>
                  <a:pt x="99" y="232"/>
                </a:lnTo>
                <a:lnTo>
                  <a:pt x="104" y="230"/>
                </a:lnTo>
                <a:lnTo>
                  <a:pt x="108" y="229"/>
                </a:lnTo>
                <a:lnTo>
                  <a:pt x="113" y="230"/>
                </a:lnTo>
                <a:lnTo>
                  <a:pt x="117" y="232"/>
                </a:lnTo>
                <a:lnTo>
                  <a:pt x="119" y="236"/>
                </a:lnTo>
                <a:lnTo>
                  <a:pt x="120" y="241"/>
                </a:lnTo>
                <a:lnTo>
                  <a:pt x="120" y="467"/>
                </a:lnTo>
                <a:lnTo>
                  <a:pt x="230" y="368"/>
                </a:lnTo>
                <a:lnTo>
                  <a:pt x="233" y="365"/>
                </a:lnTo>
                <a:lnTo>
                  <a:pt x="237" y="364"/>
                </a:lnTo>
                <a:lnTo>
                  <a:pt x="241" y="365"/>
                </a:lnTo>
                <a:lnTo>
                  <a:pt x="244" y="367"/>
                </a:lnTo>
                <a:lnTo>
                  <a:pt x="327" y="421"/>
                </a:lnTo>
                <a:lnTo>
                  <a:pt x="436" y="306"/>
                </a:lnTo>
                <a:lnTo>
                  <a:pt x="440" y="303"/>
                </a:lnTo>
                <a:lnTo>
                  <a:pt x="445" y="301"/>
                </a:lnTo>
                <a:lnTo>
                  <a:pt x="447" y="301"/>
                </a:lnTo>
                <a:lnTo>
                  <a:pt x="449" y="302"/>
                </a:lnTo>
                <a:lnTo>
                  <a:pt x="451" y="303"/>
                </a:lnTo>
                <a:lnTo>
                  <a:pt x="453" y="304"/>
                </a:lnTo>
                <a:lnTo>
                  <a:pt x="456" y="308"/>
                </a:lnTo>
                <a:lnTo>
                  <a:pt x="457" y="313"/>
                </a:lnTo>
                <a:lnTo>
                  <a:pt x="456" y="317"/>
                </a:lnTo>
                <a:lnTo>
                  <a:pt x="454" y="321"/>
                </a:lnTo>
                <a:lnTo>
                  <a:pt x="338" y="446"/>
                </a:lnTo>
                <a:lnTo>
                  <a:pt x="334" y="448"/>
                </a:lnTo>
                <a:lnTo>
                  <a:pt x="330" y="449"/>
                </a:lnTo>
                <a:lnTo>
                  <a:pt x="326" y="449"/>
                </a:lnTo>
                <a:lnTo>
                  <a:pt x="322" y="448"/>
                </a:lnTo>
                <a:lnTo>
                  <a:pt x="239" y="393"/>
                </a:lnTo>
                <a:lnTo>
                  <a:pt x="120" y="500"/>
                </a:lnTo>
                <a:lnTo>
                  <a:pt x="120" y="577"/>
                </a:lnTo>
                <a:lnTo>
                  <a:pt x="450" y="577"/>
                </a:lnTo>
                <a:lnTo>
                  <a:pt x="455" y="578"/>
                </a:lnTo>
                <a:lnTo>
                  <a:pt x="458" y="581"/>
                </a:lnTo>
                <a:lnTo>
                  <a:pt x="461" y="585"/>
                </a:lnTo>
                <a:lnTo>
                  <a:pt x="462" y="590"/>
                </a:lnTo>
                <a:lnTo>
                  <a:pt x="461" y="595"/>
                </a:lnTo>
                <a:lnTo>
                  <a:pt x="458" y="599"/>
                </a:lnTo>
                <a:lnTo>
                  <a:pt x="455" y="601"/>
                </a:lnTo>
                <a:lnTo>
                  <a:pt x="450" y="602"/>
                </a:lnTo>
                <a:close/>
                <a:moveTo>
                  <a:pt x="550" y="196"/>
                </a:moveTo>
                <a:lnTo>
                  <a:pt x="357" y="3"/>
                </a:lnTo>
                <a:lnTo>
                  <a:pt x="353" y="0"/>
                </a:lnTo>
                <a:lnTo>
                  <a:pt x="348" y="0"/>
                </a:lnTo>
                <a:lnTo>
                  <a:pt x="12" y="0"/>
                </a:lnTo>
                <a:lnTo>
                  <a:pt x="7" y="1"/>
                </a:lnTo>
                <a:lnTo>
                  <a:pt x="3" y="3"/>
                </a:lnTo>
                <a:lnTo>
                  <a:pt x="1" y="7"/>
                </a:lnTo>
                <a:lnTo>
                  <a:pt x="0" y="11"/>
                </a:lnTo>
                <a:lnTo>
                  <a:pt x="0" y="710"/>
                </a:lnTo>
                <a:lnTo>
                  <a:pt x="1" y="715"/>
                </a:lnTo>
                <a:lnTo>
                  <a:pt x="3" y="719"/>
                </a:lnTo>
                <a:lnTo>
                  <a:pt x="7" y="721"/>
                </a:lnTo>
                <a:lnTo>
                  <a:pt x="12" y="722"/>
                </a:lnTo>
                <a:lnTo>
                  <a:pt x="541" y="722"/>
                </a:lnTo>
                <a:lnTo>
                  <a:pt x="546" y="721"/>
                </a:lnTo>
                <a:lnTo>
                  <a:pt x="550" y="719"/>
                </a:lnTo>
                <a:lnTo>
                  <a:pt x="552" y="715"/>
                </a:lnTo>
                <a:lnTo>
                  <a:pt x="553" y="710"/>
                </a:lnTo>
                <a:lnTo>
                  <a:pt x="553" y="204"/>
                </a:lnTo>
                <a:lnTo>
                  <a:pt x="552" y="200"/>
                </a:lnTo>
                <a:lnTo>
                  <a:pt x="550" y="1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36" name="Group 35">
            <a:extLst>
              <a:ext uri="{FF2B5EF4-FFF2-40B4-BE49-F238E27FC236}">
                <a16:creationId xmlns:a16="http://schemas.microsoft.com/office/drawing/2014/main" id="{E4505D76-F7DD-4014-A236-15E811AB714E}"/>
              </a:ext>
            </a:extLst>
          </p:cNvPr>
          <p:cNvGrpSpPr/>
          <p:nvPr/>
        </p:nvGrpSpPr>
        <p:grpSpPr>
          <a:xfrm>
            <a:off x="907415" y="2763043"/>
            <a:ext cx="287337" cy="287338"/>
            <a:chOff x="5465763" y="1943100"/>
            <a:chExt cx="287337" cy="287338"/>
          </a:xfrm>
          <a:solidFill>
            <a:schemeClr val="bg1"/>
          </a:solidFill>
        </p:grpSpPr>
        <p:sp>
          <p:nvSpPr>
            <p:cNvPr id="37" name="Freeform 1026">
              <a:extLst>
                <a:ext uri="{FF2B5EF4-FFF2-40B4-BE49-F238E27FC236}">
                  <a16:creationId xmlns:a16="http://schemas.microsoft.com/office/drawing/2014/main" id="{F9D3D0C3-01F4-41F1-9678-4324AE6ED9C9}"/>
                </a:ext>
              </a:extLst>
            </p:cNvPr>
            <p:cNvSpPr>
              <a:spLocks noEditPoints="1"/>
            </p:cNvSpPr>
            <p:nvPr/>
          </p:nvSpPr>
          <p:spPr bwMode="auto">
            <a:xfrm>
              <a:off x="5610225" y="1943100"/>
              <a:ext cx="142875" cy="190500"/>
            </a:xfrm>
            <a:custGeom>
              <a:avLst/>
              <a:gdLst>
                <a:gd name="T0" fmla="*/ 228 w 361"/>
                <a:gd name="T1" fmla="*/ 133 h 481"/>
                <a:gd name="T2" fmla="*/ 228 w 361"/>
                <a:gd name="T3" fmla="*/ 12 h 481"/>
                <a:gd name="T4" fmla="*/ 349 w 361"/>
                <a:gd name="T5" fmla="*/ 133 h 481"/>
                <a:gd name="T6" fmla="*/ 228 w 361"/>
                <a:gd name="T7" fmla="*/ 133 h 481"/>
                <a:gd name="T8" fmla="*/ 358 w 361"/>
                <a:gd name="T9" fmla="*/ 125 h 481"/>
                <a:gd name="T10" fmla="*/ 237 w 361"/>
                <a:gd name="T11" fmla="*/ 3 h 481"/>
                <a:gd name="T12" fmla="*/ 234 w 361"/>
                <a:gd name="T13" fmla="*/ 1 h 481"/>
                <a:gd name="T14" fmla="*/ 228 w 361"/>
                <a:gd name="T15" fmla="*/ 0 h 481"/>
                <a:gd name="T16" fmla="*/ 11 w 361"/>
                <a:gd name="T17" fmla="*/ 0 h 481"/>
                <a:gd name="T18" fmla="*/ 7 w 361"/>
                <a:gd name="T19" fmla="*/ 1 h 481"/>
                <a:gd name="T20" fmla="*/ 3 w 361"/>
                <a:gd name="T21" fmla="*/ 4 h 481"/>
                <a:gd name="T22" fmla="*/ 1 w 361"/>
                <a:gd name="T23" fmla="*/ 7 h 481"/>
                <a:gd name="T24" fmla="*/ 0 w 361"/>
                <a:gd name="T25" fmla="*/ 12 h 481"/>
                <a:gd name="T26" fmla="*/ 0 w 361"/>
                <a:gd name="T27" fmla="*/ 470 h 481"/>
                <a:gd name="T28" fmla="*/ 1 w 361"/>
                <a:gd name="T29" fmla="*/ 474 h 481"/>
                <a:gd name="T30" fmla="*/ 3 w 361"/>
                <a:gd name="T31" fmla="*/ 478 h 481"/>
                <a:gd name="T32" fmla="*/ 7 w 361"/>
                <a:gd name="T33" fmla="*/ 480 h 481"/>
                <a:gd name="T34" fmla="*/ 11 w 361"/>
                <a:gd name="T35" fmla="*/ 481 h 481"/>
                <a:gd name="T36" fmla="*/ 349 w 361"/>
                <a:gd name="T37" fmla="*/ 481 h 481"/>
                <a:gd name="T38" fmla="*/ 354 w 361"/>
                <a:gd name="T39" fmla="*/ 480 h 481"/>
                <a:gd name="T40" fmla="*/ 357 w 361"/>
                <a:gd name="T41" fmla="*/ 478 h 481"/>
                <a:gd name="T42" fmla="*/ 360 w 361"/>
                <a:gd name="T43" fmla="*/ 474 h 481"/>
                <a:gd name="T44" fmla="*/ 361 w 361"/>
                <a:gd name="T45" fmla="*/ 470 h 481"/>
                <a:gd name="T46" fmla="*/ 361 w 361"/>
                <a:gd name="T47" fmla="*/ 133 h 481"/>
                <a:gd name="T48" fmla="*/ 360 w 361"/>
                <a:gd name="T49" fmla="*/ 129 h 481"/>
                <a:gd name="T50" fmla="*/ 358 w 361"/>
                <a:gd name="T51" fmla="*/ 125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1" h="481">
                  <a:moveTo>
                    <a:pt x="228" y="133"/>
                  </a:moveTo>
                  <a:lnTo>
                    <a:pt x="228" y="12"/>
                  </a:lnTo>
                  <a:lnTo>
                    <a:pt x="349" y="133"/>
                  </a:lnTo>
                  <a:lnTo>
                    <a:pt x="228" y="133"/>
                  </a:lnTo>
                  <a:close/>
                  <a:moveTo>
                    <a:pt x="358" y="125"/>
                  </a:moveTo>
                  <a:lnTo>
                    <a:pt x="237" y="3"/>
                  </a:lnTo>
                  <a:lnTo>
                    <a:pt x="234" y="1"/>
                  </a:lnTo>
                  <a:lnTo>
                    <a:pt x="228" y="0"/>
                  </a:lnTo>
                  <a:lnTo>
                    <a:pt x="11" y="0"/>
                  </a:lnTo>
                  <a:lnTo>
                    <a:pt x="7" y="1"/>
                  </a:lnTo>
                  <a:lnTo>
                    <a:pt x="3" y="4"/>
                  </a:lnTo>
                  <a:lnTo>
                    <a:pt x="1" y="7"/>
                  </a:lnTo>
                  <a:lnTo>
                    <a:pt x="0" y="12"/>
                  </a:lnTo>
                  <a:lnTo>
                    <a:pt x="0" y="470"/>
                  </a:lnTo>
                  <a:lnTo>
                    <a:pt x="1" y="474"/>
                  </a:lnTo>
                  <a:lnTo>
                    <a:pt x="3" y="478"/>
                  </a:lnTo>
                  <a:lnTo>
                    <a:pt x="7" y="480"/>
                  </a:lnTo>
                  <a:lnTo>
                    <a:pt x="11" y="481"/>
                  </a:lnTo>
                  <a:lnTo>
                    <a:pt x="349" y="481"/>
                  </a:lnTo>
                  <a:lnTo>
                    <a:pt x="354" y="480"/>
                  </a:lnTo>
                  <a:lnTo>
                    <a:pt x="357" y="478"/>
                  </a:lnTo>
                  <a:lnTo>
                    <a:pt x="360" y="474"/>
                  </a:lnTo>
                  <a:lnTo>
                    <a:pt x="361" y="470"/>
                  </a:lnTo>
                  <a:lnTo>
                    <a:pt x="361" y="133"/>
                  </a:lnTo>
                  <a:lnTo>
                    <a:pt x="360" y="129"/>
                  </a:lnTo>
                  <a:lnTo>
                    <a:pt x="358"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027">
              <a:extLst>
                <a:ext uri="{FF2B5EF4-FFF2-40B4-BE49-F238E27FC236}">
                  <a16:creationId xmlns:a16="http://schemas.microsoft.com/office/drawing/2014/main" id="{FA24C361-D2C6-476F-80C5-2DB97E737DCE}"/>
                </a:ext>
              </a:extLst>
            </p:cNvPr>
            <p:cNvSpPr>
              <a:spLocks noEditPoints="1"/>
            </p:cNvSpPr>
            <p:nvPr/>
          </p:nvSpPr>
          <p:spPr bwMode="auto">
            <a:xfrm>
              <a:off x="5465763" y="2133600"/>
              <a:ext cx="58738" cy="96838"/>
            </a:xfrm>
            <a:custGeom>
              <a:avLst/>
              <a:gdLst>
                <a:gd name="T0" fmla="*/ 73 w 146"/>
                <a:gd name="T1" fmla="*/ 191 h 242"/>
                <a:gd name="T2" fmla="*/ 69 w 146"/>
                <a:gd name="T3" fmla="*/ 191 h 242"/>
                <a:gd name="T4" fmla="*/ 65 w 146"/>
                <a:gd name="T5" fmla="*/ 189 h 242"/>
                <a:gd name="T6" fmla="*/ 61 w 146"/>
                <a:gd name="T7" fmla="*/ 187 h 242"/>
                <a:gd name="T8" fmla="*/ 58 w 146"/>
                <a:gd name="T9" fmla="*/ 185 h 242"/>
                <a:gd name="T10" fmla="*/ 55 w 146"/>
                <a:gd name="T11" fmla="*/ 182 h 242"/>
                <a:gd name="T12" fmla="*/ 54 w 146"/>
                <a:gd name="T13" fmla="*/ 178 h 242"/>
                <a:gd name="T14" fmla="*/ 52 w 146"/>
                <a:gd name="T15" fmla="*/ 174 h 242"/>
                <a:gd name="T16" fmla="*/ 52 w 146"/>
                <a:gd name="T17" fmla="*/ 170 h 242"/>
                <a:gd name="T18" fmla="*/ 52 w 146"/>
                <a:gd name="T19" fmla="*/ 165 h 242"/>
                <a:gd name="T20" fmla="*/ 54 w 146"/>
                <a:gd name="T21" fmla="*/ 161 h 242"/>
                <a:gd name="T22" fmla="*/ 55 w 146"/>
                <a:gd name="T23" fmla="*/ 157 h 242"/>
                <a:gd name="T24" fmla="*/ 58 w 146"/>
                <a:gd name="T25" fmla="*/ 154 h 242"/>
                <a:gd name="T26" fmla="*/ 61 w 146"/>
                <a:gd name="T27" fmla="*/ 151 h 242"/>
                <a:gd name="T28" fmla="*/ 65 w 146"/>
                <a:gd name="T29" fmla="*/ 149 h 242"/>
                <a:gd name="T30" fmla="*/ 69 w 146"/>
                <a:gd name="T31" fmla="*/ 148 h 242"/>
                <a:gd name="T32" fmla="*/ 73 w 146"/>
                <a:gd name="T33" fmla="*/ 147 h 242"/>
                <a:gd name="T34" fmla="*/ 78 w 146"/>
                <a:gd name="T35" fmla="*/ 148 h 242"/>
                <a:gd name="T36" fmla="*/ 82 w 146"/>
                <a:gd name="T37" fmla="*/ 149 h 242"/>
                <a:gd name="T38" fmla="*/ 85 w 146"/>
                <a:gd name="T39" fmla="*/ 151 h 242"/>
                <a:gd name="T40" fmla="*/ 88 w 146"/>
                <a:gd name="T41" fmla="*/ 154 h 242"/>
                <a:gd name="T42" fmla="*/ 91 w 146"/>
                <a:gd name="T43" fmla="*/ 157 h 242"/>
                <a:gd name="T44" fmla="*/ 93 w 146"/>
                <a:gd name="T45" fmla="*/ 161 h 242"/>
                <a:gd name="T46" fmla="*/ 94 w 146"/>
                <a:gd name="T47" fmla="*/ 165 h 242"/>
                <a:gd name="T48" fmla="*/ 95 w 146"/>
                <a:gd name="T49" fmla="*/ 170 h 242"/>
                <a:gd name="T50" fmla="*/ 94 w 146"/>
                <a:gd name="T51" fmla="*/ 174 h 242"/>
                <a:gd name="T52" fmla="*/ 93 w 146"/>
                <a:gd name="T53" fmla="*/ 178 h 242"/>
                <a:gd name="T54" fmla="*/ 91 w 146"/>
                <a:gd name="T55" fmla="*/ 182 h 242"/>
                <a:gd name="T56" fmla="*/ 88 w 146"/>
                <a:gd name="T57" fmla="*/ 185 h 242"/>
                <a:gd name="T58" fmla="*/ 85 w 146"/>
                <a:gd name="T59" fmla="*/ 187 h 242"/>
                <a:gd name="T60" fmla="*/ 82 w 146"/>
                <a:gd name="T61" fmla="*/ 189 h 242"/>
                <a:gd name="T62" fmla="*/ 78 w 146"/>
                <a:gd name="T63" fmla="*/ 191 h 242"/>
                <a:gd name="T64" fmla="*/ 73 w 146"/>
                <a:gd name="T65" fmla="*/ 191 h 242"/>
                <a:gd name="T66" fmla="*/ 134 w 146"/>
                <a:gd name="T67" fmla="*/ 0 h 242"/>
                <a:gd name="T68" fmla="*/ 12 w 146"/>
                <a:gd name="T69" fmla="*/ 0 h 242"/>
                <a:gd name="T70" fmla="*/ 8 w 146"/>
                <a:gd name="T71" fmla="*/ 1 h 242"/>
                <a:gd name="T72" fmla="*/ 4 w 146"/>
                <a:gd name="T73" fmla="*/ 4 h 242"/>
                <a:gd name="T74" fmla="*/ 1 w 146"/>
                <a:gd name="T75" fmla="*/ 9 h 242"/>
                <a:gd name="T76" fmla="*/ 0 w 146"/>
                <a:gd name="T77" fmla="*/ 13 h 242"/>
                <a:gd name="T78" fmla="*/ 0 w 146"/>
                <a:gd name="T79" fmla="*/ 230 h 242"/>
                <a:gd name="T80" fmla="*/ 1 w 146"/>
                <a:gd name="T81" fmla="*/ 235 h 242"/>
                <a:gd name="T82" fmla="*/ 4 w 146"/>
                <a:gd name="T83" fmla="*/ 238 h 242"/>
                <a:gd name="T84" fmla="*/ 8 w 146"/>
                <a:gd name="T85" fmla="*/ 241 h 242"/>
                <a:gd name="T86" fmla="*/ 12 w 146"/>
                <a:gd name="T87" fmla="*/ 242 h 242"/>
                <a:gd name="T88" fmla="*/ 134 w 146"/>
                <a:gd name="T89" fmla="*/ 242 h 242"/>
                <a:gd name="T90" fmla="*/ 139 w 146"/>
                <a:gd name="T91" fmla="*/ 241 h 242"/>
                <a:gd name="T92" fmla="*/ 143 w 146"/>
                <a:gd name="T93" fmla="*/ 238 h 242"/>
                <a:gd name="T94" fmla="*/ 145 w 146"/>
                <a:gd name="T95" fmla="*/ 235 h 242"/>
                <a:gd name="T96" fmla="*/ 146 w 146"/>
                <a:gd name="T97" fmla="*/ 230 h 242"/>
                <a:gd name="T98" fmla="*/ 146 w 146"/>
                <a:gd name="T99" fmla="*/ 13 h 242"/>
                <a:gd name="T100" fmla="*/ 145 w 146"/>
                <a:gd name="T101" fmla="*/ 9 h 242"/>
                <a:gd name="T102" fmla="*/ 143 w 146"/>
                <a:gd name="T103" fmla="*/ 4 h 242"/>
                <a:gd name="T104" fmla="*/ 139 w 146"/>
                <a:gd name="T105" fmla="*/ 1 h 242"/>
                <a:gd name="T106" fmla="*/ 134 w 146"/>
                <a:gd name="T10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6" h="242">
                  <a:moveTo>
                    <a:pt x="73" y="191"/>
                  </a:moveTo>
                  <a:lnTo>
                    <a:pt x="69" y="191"/>
                  </a:lnTo>
                  <a:lnTo>
                    <a:pt x="65" y="189"/>
                  </a:lnTo>
                  <a:lnTo>
                    <a:pt x="61" y="187"/>
                  </a:lnTo>
                  <a:lnTo>
                    <a:pt x="58" y="185"/>
                  </a:lnTo>
                  <a:lnTo>
                    <a:pt x="55" y="182"/>
                  </a:lnTo>
                  <a:lnTo>
                    <a:pt x="54" y="178"/>
                  </a:lnTo>
                  <a:lnTo>
                    <a:pt x="52" y="174"/>
                  </a:lnTo>
                  <a:lnTo>
                    <a:pt x="52" y="170"/>
                  </a:lnTo>
                  <a:lnTo>
                    <a:pt x="52" y="165"/>
                  </a:lnTo>
                  <a:lnTo>
                    <a:pt x="54" y="161"/>
                  </a:lnTo>
                  <a:lnTo>
                    <a:pt x="55" y="157"/>
                  </a:lnTo>
                  <a:lnTo>
                    <a:pt x="58" y="154"/>
                  </a:lnTo>
                  <a:lnTo>
                    <a:pt x="61" y="151"/>
                  </a:lnTo>
                  <a:lnTo>
                    <a:pt x="65" y="149"/>
                  </a:lnTo>
                  <a:lnTo>
                    <a:pt x="69" y="148"/>
                  </a:lnTo>
                  <a:lnTo>
                    <a:pt x="73" y="147"/>
                  </a:lnTo>
                  <a:lnTo>
                    <a:pt x="78" y="148"/>
                  </a:lnTo>
                  <a:lnTo>
                    <a:pt x="82" y="149"/>
                  </a:lnTo>
                  <a:lnTo>
                    <a:pt x="85" y="151"/>
                  </a:lnTo>
                  <a:lnTo>
                    <a:pt x="88" y="154"/>
                  </a:lnTo>
                  <a:lnTo>
                    <a:pt x="91" y="157"/>
                  </a:lnTo>
                  <a:lnTo>
                    <a:pt x="93" y="161"/>
                  </a:lnTo>
                  <a:lnTo>
                    <a:pt x="94" y="165"/>
                  </a:lnTo>
                  <a:lnTo>
                    <a:pt x="95" y="170"/>
                  </a:lnTo>
                  <a:lnTo>
                    <a:pt x="94" y="174"/>
                  </a:lnTo>
                  <a:lnTo>
                    <a:pt x="93" y="178"/>
                  </a:lnTo>
                  <a:lnTo>
                    <a:pt x="91" y="182"/>
                  </a:lnTo>
                  <a:lnTo>
                    <a:pt x="88" y="185"/>
                  </a:lnTo>
                  <a:lnTo>
                    <a:pt x="85" y="187"/>
                  </a:lnTo>
                  <a:lnTo>
                    <a:pt x="82" y="189"/>
                  </a:lnTo>
                  <a:lnTo>
                    <a:pt x="78" y="191"/>
                  </a:lnTo>
                  <a:lnTo>
                    <a:pt x="73" y="191"/>
                  </a:lnTo>
                  <a:close/>
                  <a:moveTo>
                    <a:pt x="134" y="0"/>
                  </a:moveTo>
                  <a:lnTo>
                    <a:pt x="12" y="0"/>
                  </a:lnTo>
                  <a:lnTo>
                    <a:pt x="8" y="1"/>
                  </a:lnTo>
                  <a:lnTo>
                    <a:pt x="4" y="4"/>
                  </a:lnTo>
                  <a:lnTo>
                    <a:pt x="1" y="9"/>
                  </a:lnTo>
                  <a:lnTo>
                    <a:pt x="0" y="13"/>
                  </a:lnTo>
                  <a:lnTo>
                    <a:pt x="0" y="230"/>
                  </a:lnTo>
                  <a:lnTo>
                    <a:pt x="1" y="235"/>
                  </a:lnTo>
                  <a:lnTo>
                    <a:pt x="4" y="238"/>
                  </a:lnTo>
                  <a:lnTo>
                    <a:pt x="8" y="241"/>
                  </a:lnTo>
                  <a:lnTo>
                    <a:pt x="12" y="242"/>
                  </a:lnTo>
                  <a:lnTo>
                    <a:pt x="134" y="242"/>
                  </a:lnTo>
                  <a:lnTo>
                    <a:pt x="139" y="241"/>
                  </a:lnTo>
                  <a:lnTo>
                    <a:pt x="143" y="238"/>
                  </a:lnTo>
                  <a:lnTo>
                    <a:pt x="145" y="235"/>
                  </a:lnTo>
                  <a:lnTo>
                    <a:pt x="146" y="230"/>
                  </a:lnTo>
                  <a:lnTo>
                    <a:pt x="146" y="13"/>
                  </a:lnTo>
                  <a:lnTo>
                    <a:pt x="145" y="9"/>
                  </a:lnTo>
                  <a:lnTo>
                    <a:pt x="143" y="4"/>
                  </a:lnTo>
                  <a:lnTo>
                    <a:pt x="139" y="1"/>
                  </a:ln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028">
              <a:extLst>
                <a:ext uri="{FF2B5EF4-FFF2-40B4-BE49-F238E27FC236}">
                  <a16:creationId xmlns:a16="http://schemas.microsoft.com/office/drawing/2014/main" id="{09F199BF-8482-4947-9F10-D55180521F8D}"/>
                </a:ext>
              </a:extLst>
            </p:cNvPr>
            <p:cNvSpPr>
              <a:spLocks/>
            </p:cNvSpPr>
            <p:nvPr/>
          </p:nvSpPr>
          <p:spPr bwMode="auto">
            <a:xfrm>
              <a:off x="5529263" y="2143125"/>
              <a:ext cx="214313" cy="77788"/>
            </a:xfrm>
            <a:custGeom>
              <a:avLst/>
              <a:gdLst>
                <a:gd name="T0" fmla="*/ 305 w 541"/>
                <a:gd name="T1" fmla="*/ 72 h 193"/>
                <a:gd name="T2" fmla="*/ 303 w 541"/>
                <a:gd name="T3" fmla="*/ 72 h 193"/>
                <a:gd name="T4" fmla="*/ 301 w 541"/>
                <a:gd name="T5" fmla="*/ 72 h 193"/>
                <a:gd name="T6" fmla="*/ 246 w 541"/>
                <a:gd name="T7" fmla="*/ 72 h 193"/>
                <a:gd name="T8" fmla="*/ 245 w 541"/>
                <a:gd name="T9" fmla="*/ 71 h 193"/>
                <a:gd name="T10" fmla="*/ 243 w 541"/>
                <a:gd name="T11" fmla="*/ 69 h 193"/>
                <a:gd name="T12" fmla="*/ 235 w 541"/>
                <a:gd name="T13" fmla="*/ 62 h 193"/>
                <a:gd name="T14" fmla="*/ 225 w 541"/>
                <a:gd name="T15" fmla="*/ 52 h 193"/>
                <a:gd name="T16" fmla="*/ 214 w 541"/>
                <a:gd name="T17" fmla="*/ 42 h 193"/>
                <a:gd name="T18" fmla="*/ 200 w 541"/>
                <a:gd name="T19" fmla="*/ 31 h 193"/>
                <a:gd name="T20" fmla="*/ 184 w 541"/>
                <a:gd name="T21" fmla="*/ 21 h 193"/>
                <a:gd name="T22" fmla="*/ 165 w 541"/>
                <a:gd name="T23" fmla="*/ 12 h 193"/>
                <a:gd name="T24" fmla="*/ 155 w 541"/>
                <a:gd name="T25" fmla="*/ 9 h 193"/>
                <a:gd name="T26" fmla="*/ 144 w 541"/>
                <a:gd name="T27" fmla="*/ 5 h 193"/>
                <a:gd name="T28" fmla="*/ 133 w 541"/>
                <a:gd name="T29" fmla="*/ 2 h 193"/>
                <a:gd name="T30" fmla="*/ 120 w 541"/>
                <a:gd name="T31" fmla="*/ 0 h 193"/>
                <a:gd name="T32" fmla="*/ 119 w 541"/>
                <a:gd name="T33" fmla="*/ 0 h 193"/>
                <a:gd name="T34" fmla="*/ 118 w 541"/>
                <a:gd name="T35" fmla="*/ 0 h 193"/>
                <a:gd name="T36" fmla="*/ 12 w 541"/>
                <a:gd name="T37" fmla="*/ 0 h 193"/>
                <a:gd name="T38" fmla="*/ 7 w 541"/>
                <a:gd name="T39" fmla="*/ 1 h 193"/>
                <a:gd name="T40" fmla="*/ 3 w 541"/>
                <a:gd name="T41" fmla="*/ 4 h 193"/>
                <a:gd name="T42" fmla="*/ 1 w 541"/>
                <a:gd name="T43" fmla="*/ 7 h 193"/>
                <a:gd name="T44" fmla="*/ 0 w 541"/>
                <a:gd name="T45" fmla="*/ 12 h 193"/>
                <a:gd name="T46" fmla="*/ 0 w 541"/>
                <a:gd name="T47" fmla="*/ 180 h 193"/>
                <a:gd name="T48" fmla="*/ 1 w 541"/>
                <a:gd name="T49" fmla="*/ 185 h 193"/>
                <a:gd name="T50" fmla="*/ 3 w 541"/>
                <a:gd name="T51" fmla="*/ 190 h 193"/>
                <a:gd name="T52" fmla="*/ 7 w 541"/>
                <a:gd name="T53" fmla="*/ 192 h 193"/>
                <a:gd name="T54" fmla="*/ 12 w 541"/>
                <a:gd name="T55" fmla="*/ 193 h 193"/>
                <a:gd name="T56" fmla="*/ 528 w 541"/>
                <a:gd name="T57" fmla="*/ 193 h 193"/>
                <a:gd name="T58" fmla="*/ 533 w 541"/>
                <a:gd name="T59" fmla="*/ 192 h 193"/>
                <a:gd name="T60" fmla="*/ 536 w 541"/>
                <a:gd name="T61" fmla="*/ 190 h 193"/>
                <a:gd name="T62" fmla="*/ 539 w 541"/>
                <a:gd name="T63" fmla="*/ 185 h 193"/>
                <a:gd name="T64" fmla="*/ 541 w 541"/>
                <a:gd name="T65" fmla="*/ 180 h 193"/>
                <a:gd name="T66" fmla="*/ 539 w 541"/>
                <a:gd name="T67" fmla="*/ 174 h 193"/>
                <a:gd name="T68" fmla="*/ 538 w 541"/>
                <a:gd name="T69" fmla="*/ 169 h 193"/>
                <a:gd name="T70" fmla="*/ 537 w 541"/>
                <a:gd name="T71" fmla="*/ 163 h 193"/>
                <a:gd name="T72" fmla="*/ 535 w 541"/>
                <a:gd name="T73" fmla="*/ 158 h 193"/>
                <a:gd name="T74" fmla="*/ 532 w 541"/>
                <a:gd name="T75" fmla="*/ 152 h 193"/>
                <a:gd name="T76" fmla="*/ 528 w 541"/>
                <a:gd name="T77" fmla="*/ 147 h 193"/>
                <a:gd name="T78" fmla="*/ 524 w 541"/>
                <a:gd name="T79" fmla="*/ 142 h 193"/>
                <a:gd name="T80" fmla="*/ 519 w 541"/>
                <a:gd name="T81" fmla="*/ 136 h 193"/>
                <a:gd name="T82" fmla="*/ 511 w 541"/>
                <a:gd name="T83" fmla="*/ 128 h 193"/>
                <a:gd name="T84" fmla="*/ 503 w 541"/>
                <a:gd name="T85" fmla="*/ 122 h 193"/>
                <a:gd name="T86" fmla="*/ 493 w 541"/>
                <a:gd name="T87" fmla="*/ 116 h 193"/>
                <a:gd name="T88" fmla="*/ 481 w 541"/>
                <a:gd name="T89" fmla="*/ 110 h 193"/>
                <a:gd name="T90" fmla="*/ 470 w 541"/>
                <a:gd name="T91" fmla="*/ 104 h 193"/>
                <a:gd name="T92" fmla="*/ 458 w 541"/>
                <a:gd name="T93" fmla="*/ 99 h 193"/>
                <a:gd name="T94" fmla="*/ 445 w 541"/>
                <a:gd name="T95" fmla="*/ 94 h 193"/>
                <a:gd name="T96" fmla="*/ 431 w 541"/>
                <a:gd name="T97" fmla="*/ 90 h 193"/>
                <a:gd name="T98" fmla="*/ 417 w 541"/>
                <a:gd name="T99" fmla="*/ 86 h 193"/>
                <a:gd name="T100" fmla="*/ 402 w 541"/>
                <a:gd name="T101" fmla="*/ 82 h 193"/>
                <a:gd name="T102" fmla="*/ 387 w 541"/>
                <a:gd name="T103" fmla="*/ 79 h 193"/>
                <a:gd name="T104" fmla="*/ 370 w 541"/>
                <a:gd name="T105" fmla="*/ 76 h 193"/>
                <a:gd name="T106" fmla="*/ 355 w 541"/>
                <a:gd name="T107" fmla="*/ 74 h 193"/>
                <a:gd name="T108" fmla="*/ 339 w 541"/>
                <a:gd name="T109" fmla="*/ 73 h 193"/>
                <a:gd name="T110" fmla="*/ 321 w 541"/>
                <a:gd name="T111" fmla="*/ 72 h 193"/>
                <a:gd name="T112" fmla="*/ 305 w 541"/>
                <a:gd name="T113" fmla="*/ 72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41" h="193">
                  <a:moveTo>
                    <a:pt x="305" y="72"/>
                  </a:moveTo>
                  <a:lnTo>
                    <a:pt x="303" y="72"/>
                  </a:lnTo>
                  <a:lnTo>
                    <a:pt x="301" y="72"/>
                  </a:lnTo>
                  <a:lnTo>
                    <a:pt x="246" y="72"/>
                  </a:lnTo>
                  <a:lnTo>
                    <a:pt x="245" y="71"/>
                  </a:lnTo>
                  <a:lnTo>
                    <a:pt x="243" y="69"/>
                  </a:lnTo>
                  <a:lnTo>
                    <a:pt x="235" y="62"/>
                  </a:lnTo>
                  <a:lnTo>
                    <a:pt x="225" y="52"/>
                  </a:lnTo>
                  <a:lnTo>
                    <a:pt x="214" y="42"/>
                  </a:lnTo>
                  <a:lnTo>
                    <a:pt x="200" y="31"/>
                  </a:lnTo>
                  <a:lnTo>
                    <a:pt x="184" y="21"/>
                  </a:lnTo>
                  <a:lnTo>
                    <a:pt x="165" y="12"/>
                  </a:lnTo>
                  <a:lnTo>
                    <a:pt x="155" y="9"/>
                  </a:lnTo>
                  <a:lnTo>
                    <a:pt x="144" y="5"/>
                  </a:lnTo>
                  <a:lnTo>
                    <a:pt x="133" y="2"/>
                  </a:lnTo>
                  <a:lnTo>
                    <a:pt x="120" y="0"/>
                  </a:lnTo>
                  <a:lnTo>
                    <a:pt x="119" y="0"/>
                  </a:lnTo>
                  <a:lnTo>
                    <a:pt x="118" y="0"/>
                  </a:lnTo>
                  <a:lnTo>
                    <a:pt x="12" y="0"/>
                  </a:lnTo>
                  <a:lnTo>
                    <a:pt x="7" y="1"/>
                  </a:lnTo>
                  <a:lnTo>
                    <a:pt x="3" y="4"/>
                  </a:lnTo>
                  <a:lnTo>
                    <a:pt x="1" y="7"/>
                  </a:lnTo>
                  <a:lnTo>
                    <a:pt x="0" y="12"/>
                  </a:lnTo>
                  <a:lnTo>
                    <a:pt x="0" y="180"/>
                  </a:lnTo>
                  <a:lnTo>
                    <a:pt x="1" y="185"/>
                  </a:lnTo>
                  <a:lnTo>
                    <a:pt x="3" y="190"/>
                  </a:lnTo>
                  <a:lnTo>
                    <a:pt x="7" y="192"/>
                  </a:lnTo>
                  <a:lnTo>
                    <a:pt x="12" y="193"/>
                  </a:lnTo>
                  <a:lnTo>
                    <a:pt x="528" y="193"/>
                  </a:lnTo>
                  <a:lnTo>
                    <a:pt x="533" y="192"/>
                  </a:lnTo>
                  <a:lnTo>
                    <a:pt x="536" y="190"/>
                  </a:lnTo>
                  <a:lnTo>
                    <a:pt x="539" y="185"/>
                  </a:lnTo>
                  <a:lnTo>
                    <a:pt x="541" y="180"/>
                  </a:lnTo>
                  <a:lnTo>
                    <a:pt x="539" y="174"/>
                  </a:lnTo>
                  <a:lnTo>
                    <a:pt x="538" y="169"/>
                  </a:lnTo>
                  <a:lnTo>
                    <a:pt x="537" y="163"/>
                  </a:lnTo>
                  <a:lnTo>
                    <a:pt x="535" y="158"/>
                  </a:lnTo>
                  <a:lnTo>
                    <a:pt x="532" y="152"/>
                  </a:lnTo>
                  <a:lnTo>
                    <a:pt x="528" y="147"/>
                  </a:lnTo>
                  <a:lnTo>
                    <a:pt x="524" y="142"/>
                  </a:lnTo>
                  <a:lnTo>
                    <a:pt x="519" y="136"/>
                  </a:lnTo>
                  <a:lnTo>
                    <a:pt x="511" y="128"/>
                  </a:lnTo>
                  <a:lnTo>
                    <a:pt x="503" y="122"/>
                  </a:lnTo>
                  <a:lnTo>
                    <a:pt x="493" y="116"/>
                  </a:lnTo>
                  <a:lnTo>
                    <a:pt x="481" y="110"/>
                  </a:lnTo>
                  <a:lnTo>
                    <a:pt x="470" y="104"/>
                  </a:lnTo>
                  <a:lnTo>
                    <a:pt x="458" y="99"/>
                  </a:lnTo>
                  <a:lnTo>
                    <a:pt x="445" y="94"/>
                  </a:lnTo>
                  <a:lnTo>
                    <a:pt x="431" y="90"/>
                  </a:lnTo>
                  <a:lnTo>
                    <a:pt x="417" y="86"/>
                  </a:lnTo>
                  <a:lnTo>
                    <a:pt x="402" y="82"/>
                  </a:lnTo>
                  <a:lnTo>
                    <a:pt x="387" y="79"/>
                  </a:lnTo>
                  <a:lnTo>
                    <a:pt x="370" y="76"/>
                  </a:lnTo>
                  <a:lnTo>
                    <a:pt x="355" y="74"/>
                  </a:lnTo>
                  <a:lnTo>
                    <a:pt x="339" y="73"/>
                  </a:lnTo>
                  <a:lnTo>
                    <a:pt x="321" y="72"/>
                  </a:lnTo>
                  <a:lnTo>
                    <a:pt x="305"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8" name="Group 67">
            <a:extLst>
              <a:ext uri="{FF2B5EF4-FFF2-40B4-BE49-F238E27FC236}">
                <a16:creationId xmlns:a16="http://schemas.microsoft.com/office/drawing/2014/main" id="{4190F541-0C14-4C8A-B734-A1C9C6F83B7D}"/>
              </a:ext>
            </a:extLst>
          </p:cNvPr>
          <p:cNvGrpSpPr/>
          <p:nvPr/>
        </p:nvGrpSpPr>
        <p:grpSpPr>
          <a:xfrm>
            <a:off x="907414" y="5279240"/>
            <a:ext cx="287338" cy="285750"/>
            <a:chOff x="2606675" y="790575"/>
            <a:chExt cx="287338" cy="285750"/>
          </a:xfrm>
          <a:solidFill>
            <a:schemeClr val="bg1"/>
          </a:solidFill>
        </p:grpSpPr>
        <p:sp>
          <p:nvSpPr>
            <p:cNvPr id="69" name="Freeform 2708">
              <a:extLst>
                <a:ext uri="{FF2B5EF4-FFF2-40B4-BE49-F238E27FC236}">
                  <a16:creationId xmlns:a16="http://schemas.microsoft.com/office/drawing/2014/main" id="{41D7F4AA-D2C4-4FD0-A880-D70069428DD2}"/>
                </a:ext>
              </a:extLst>
            </p:cNvPr>
            <p:cNvSpPr>
              <a:spLocks/>
            </p:cNvSpPr>
            <p:nvPr/>
          </p:nvSpPr>
          <p:spPr bwMode="auto">
            <a:xfrm>
              <a:off x="2606675" y="790575"/>
              <a:ext cx="209550" cy="247650"/>
            </a:xfrm>
            <a:custGeom>
              <a:avLst/>
              <a:gdLst>
                <a:gd name="T0" fmla="*/ 169 w 529"/>
                <a:gd name="T1" fmla="*/ 98 h 624"/>
                <a:gd name="T2" fmla="*/ 173 w 529"/>
                <a:gd name="T3" fmla="*/ 92 h 624"/>
                <a:gd name="T4" fmla="*/ 180 w 529"/>
                <a:gd name="T5" fmla="*/ 89 h 624"/>
                <a:gd name="T6" fmla="*/ 186 w 529"/>
                <a:gd name="T7" fmla="*/ 91 h 624"/>
                <a:gd name="T8" fmla="*/ 230 w 529"/>
                <a:gd name="T9" fmla="*/ 134 h 624"/>
                <a:gd name="T10" fmla="*/ 242 w 529"/>
                <a:gd name="T11" fmla="*/ 142 h 624"/>
                <a:gd name="T12" fmla="*/ 258 w 529"/>
                <a:gd name="T13" fmla="*/ 150 h 624"/>
                <a:gd name="T14" fmla="*/ 281 w 529"/>
                <a:gd name="T15" fmla="*/ 158 h 624"/>
                <a:gd name="T16" fmla="*/ 308 w 529"/>
                <a:gd name="T17" fmla="*/ 165 h 624"/>
                <a:gd name="T18" fmla="*/ 375 w 529"/>
                <a:gd name="T19" fmla="*/ 176 h 624"/>
                <a:gd name="T20" fmla="*/ 414 w 529"/>
                <a:gd name="T21" fmla="*/ 179 h 624"/>
                <a:gd name="T22" fmla="*/ 457 w 529"/>
                <a:gd name="T23" fmla="*/ 180 h 624"/>
                <a:gd name="T24" fmla="*/ 494 w 529"/>
                <a:gd name="T25" fmla="*/ 179 h 624"/>
                <a:gd name="T26" fmla="*/ 529 w 529"/>
                <a:gd name="T27" fmla="*/ 177 h 624"/>
                <a:gd name="T28" fmla="*/ 529 w 529"/>
                <a:gd name="T29" fmla="*/ 8 h 624"/>
                <a:gd name="T30" fmla="*/ 525 w 529"/>
                <a:gd name="T31" fmla="*/ 2 h 624"/>
                <a:gd name="T32" fmla="*/ 517 w 529"/>
                <a:gd name="T33" fmla="*/ 0 h 624"/>
                <a:gd name="T34" fmla="*/ 510 w 529"/>
                <a:gd name="T35" fmla="*/ 2 h 624"/>
                <a:gd name="T36" fmla="*/ 502 w 529"/>
                <a:gd name="T37" fmla="*/ 10 h 624"/>
                <a:gd name="T38" fmla="*/ 486 w 529"/>
                <a:gd name="T39" fmla="*/ 21 h 624"/>
                <a:gd name="T40" fmla="*/ 465 w 529"/>
                <a:gd name="T41" fmla="*/ 30 h 624"/>
                <a:gd name="T42" fmla="*/ 437 w 529"/>
                <a:gd name="T43" fmla="*/ 38 h 624"/>
                <a:gd name="T44" fmla="*/ 406 w 529"/>
                <a:gd name="T45" fmla="*/ 45 h 624"/>
                <a:gd name="T46" fmla="*/ 371 w 529"/>
                <a:gd name="T47" fmla="*/ 51 h 624"/>
                <a:gd name="T48" fmla="*/ 312 w 529"/>
                <a:gd name="T49" fmla="*/ 56 h 624"/>
                <a:gd name="T50" fmla="*/ 227 w 529"/>
                <a:gd name="T51" fmla="*/ 56 h 624"/>
                <a:gd name="T52" fmla="*/ 167 w 529"/>
                <a:gd name="T53" fmla="*/ 51 h 624"/>
                <a:gd name="T54" fmla="*/ 130 w 529"/>
                <a:gd name="T55" fmla="*/ 45 h 624"/>
                <a:gd name="T56" fmla="*/ 98 w 529"/>
                <a:gd name="T57" fmla="*/ 38 h 624"/>
                <a:gd name="T58" fmla="*/ 69 w 529"/>
                <a:gd name="T59" fmla="*/ 30 h 624"/>
                <a:gd name="T60" fmla="*/ 46 w 529"/>
                <a:gd name="T61" fmla="*/ 20 h 624"/>
                <a:gd name="T62" fmla="*/ 28 w 529"/>
                <a:gd name="T63" fmla="*/ 9 h 624"/>
                <a:gd name="T64" fmla="*/ 19 w 529"/>
                <a:gd name="T65" fmla="*/ 1 h 624"/>
                <a:gd name="T66" fmla="*/ 11 w 529"/>
                <a:gd name="T67" fmla="*/ 0 h 624"/>
                <a:gd name="T68" fmla="*/ 5 w 529"/>
                <a:gd name="T69" fmla="*/ 3 h 624"/>
                <a:gd name="T70" fmla="*/ 1 w 529"/>
                <a:gd name="T71" fmla="*/ 8 h 624"/>
                <a:gd name="T72" fmla="*/ 0 w 529"/>
                <a:gd name="T73" fmla="*/ 264 h 624"/>
                <a:gd name="T74" fmla="*/ 3 w 529"/>
                <a:gd name="T75" fmla="*/ 298 h 624"/>
                <a:gd name="T76" fmla="*/ 12 w 529"/>
                <a:gd name="T77" fmla="*/ 333 h 624"/>
                <a:gd name="T78" fmla="*/ 25 w 529"/>
                <a:gd name="T79" fmla="*/ 364 h 624"/>
                <a:gd name="T80" fmla="*/ 39 w 529"/>
                <a:gd name="T81" fmla="*/ 394 h 624"/>
                <a:gd name="T82" fmla="*/ 72 w 529"/>
                <a:gd name="T83" fmla="*/ 443 h 624"/>
                <a:gd name="T84" fmla="*/ 101 w 529"/>
                <a:gd name="T85" fmla="*/ 477 h 624"/>
                <a:gd name="T86" fmla="*/ 258 w 529"/>
                <a:gd name="T87" fmla="*/ 623 h 624"/>
                <a:gd name="T88" fmla="*/ 242 w 529"/>
                <a:gd name="T89" fmla="*/ 601 h 624"/>
                <a:gd name="T90" fmla="*/ 217 w 529"/>
                <a:gd name="T91" fmla="*/ 565 h 624"/>
                <a:gd name="T92" fmla="*/ 201 w 529"/>
                <a:gd name="T93" fmla="*/ 538 h 624"/>
                <a:gd name="T94" fmla="*/ 189 w 529"/>
                <a:gd name="T95" fmla="*/ 511 h 624"/>
                <a:gd name="T96" fmla="*/ 180 w 529"/>
                <a:gd name="T97" fmla="*/ 482 h 624"/>
                <a:gd name="T98" fmla="*/ 173 w 529"/>
                <a:gd name="T99" fmla="*/ 453 h 624"/>
                <a:gd name="T100" fmla="*/ 169 w 529"/>
                <a:gd name="T101" fmla="*/ 423 h 624"/>
                <a:gd name="T102" fmla="*/ 169 w 529"/>
                <a:gd name="T103" fmla="*/ 101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9" h="624">
                  <a:moveTo>
                    <a:pt x="169" y="101"/>
                  </a:moveTo>
                  <a:lnTo>
                    <a:pt x="169" y="98"/>
                  </a:lnTo>
                  <a:lnTo>
                    <a:pt x="171" y="94"/>
                  </a:lnTo>
                  <a:lnTo>
                    <a:pt x="173" y="92"/>
                  </a:lnTo>
                  <a:lnTo>
                    <a:pt x="176" y="90"/>
                  </a:lnTo>
                  <a:lnTo>
                    <a:pt x="180" y="89"/>
                  </a:lnTo>
                  <a:lnTo>
                    <a:pt x="183" y="89"/>
                  </a:lnTo>
                  <a:lnTo>
                    <a:pt x="186" y="91"/>
                  </a:lnTo>
                  <a:lnTo>
                    <a:pt x="189" y="93"/>
                  </a:lnTo>
                  <a:lnTo>
                    <a:pt x="230" y="134"/>
                  </a:lnTo>
                  <a:lnTo>
                    <a:pt x="235" y="138"/>
                  </a:lnTo>
                  <a:lnTo>
                    <a:pt x="242" y="142"/>
                  </a:lnTo>
                  <a:lnTo>
                    <a:pt x="249" y="146"/>
                  </a:lnTo>
                  <a:lnTo>
                    <a:pt x="258" y="150"/>
                  </a:lnTo>
                  <a:lnTo>
                    <a:pt x="270" y="154"/>
                  </a:lnTo>
                  <a:lnTo>
                    <a:pt x="281" y="158"/>
                  </a:lnTo>
                  <a:lnTo>
                    <a:pt x="294" y="162"/>
                  </a:lnTo>
                  <a:lnTo>
                    <a:pt x="308" y="165"/>
                  </a:lnTo>
                  <a:lnTo>
                    <a:pt x="340" y="171"/>
                  </a:lnTo>
                  <a:lnTo>
                    <a:pt x="375" y="176"/>
                  </a:lnTo>
                  <a:lnTo>
                    <a:pt x="395" y="178"/>
                  </a:lnTo>
                  <a:lnTo>
                    <a:pt x="414" y="179"/>
                  </a:lnTo>
                  <a:lnTo>
                    <a:pt x="435" y="180"/>
                  </a:lnTo>
                  <a:lnTo>
                    <a:pt x="457" y="180"/>
                  </a:lnTo>
                  <a:lnTo>
                    <a:pt x="476" y="180"/>
                  </a:lnTo>
                  <a:lnTo>
                    <a:pt x="494" y="179"/>
                  </a:lnTo>
                  <a:lnTo>
                    <a:pt x="512" y="178"/>
                  </a:lnTo>
                  <a:lnTo>
                    <a:pt x="529" y="177"/>
                  </a:lnTo>
                  <a:lnTo>
                    <a:pt x="529" y="11"/>
                  </a:lnTo>
                  <a:lnTo>
                    <a:pt x="529" y="8"/>
                  </a:lnTo>
                  <a:lnTo>
                    <a:pt x="527" y="5"/>
                  </a:lnTo>
                  <a:lnTo>
                    <a:pt x="525" y="2"/>
                  </a:lnTo>
                  <a:lnTo>
                    <a:pt x="522" y="1"/>
                  </a:lnTo>
                  <a:lnTo>
                    <a:pt x="517" y="0"/>
                  </a:lnTo>
                  <a:lnTo>
                    <a:pt x="514" y="1"/>
                  </a:lnTo>
                  <a:lnTo>
                    <a:pt x="510" y="2"/>
                  </a:lnTo>
                  <a:lnTo>
                    <a:pt x="508" y="4"/>
                  </a:lnTo>
                  <a:lnTo>
                    <a:pt x="502" y="10"/>
                  </a:lnTo>
                  <a:lnTo>
                    <a:pt x="495" y="15"/>
                  </a:lnTo>
                  <a:lnTo>
                    <a:pt x="486" y="21"/>
                  </a:lnTo>
                  <a:lnTo>
                    <a:pt x="476" y="25"/>
                  </a:lnTo>
                  <a:lnTo>
                    <a:pt x="465" y="30"/>
                  </a:lnTo>
                  <a:lnTo>
                    <a:pt x="451" y="34"/>
                  </a:lnTo>
                  <a:lnTo>
                    <a:pt x="437" y="38"/>
                  </a:lnTo>
                  <a:lnTo>
                    <a:pt x="422" y="42"/>
                  </a:lnTo>
                  <a:lnTo>
                    <a:pt x="406" y="45"/>
                  </a:lnTo>
                  <a:lnTo>
                    <a:pt x="389" y="49"/>
                  </a:lnTo>
                  <a:lnTo>
                    <a:pt x="371" y="51"/>
                  </a:lnTo>
                  <a:lnTo>
                    <a:pt x="352" y="54"/>
                  </a:lnTo>
                  <a:lnTo>
                    <a:pt x="312" y="56"/>
                  </a:lnTo>
                  <a:lnTo>
                    <a:pt x="270" y="57"/>
                  </a:lnTo>
                  <a:lnTo>
                    <a:pt x="227" y="56"/>
                  </a:lnTo>
                  <a:lnTo>
                    <a:pt x="186" y="53"/>
                  </a:lnTo>
                  <a:lnTo>
                    <a:pt x="167" y="51"/>
                  </a:lnTo>
                  <a:lnTo>
                    <a:pt x="148" y="49"/>
                  </a:lnTo>
                  <a:lnTo>
                    <a:pt x="130" y="45"/>
                  </a:lnTo>
                  <a:lnTo>
                    <a:pt x="113" y="42"/>
                  </a:lnTo>
                  <a:lnTo>
                    <a:pt x="98" y="38"/>
                  </a:lnTo>
                  <a:lnTo>
                    <a:pt x="83" y="34"/>
                  </a:lnTo>
                  <a:lnTo>
                    <a:pt x="69" y="30"/>
                  </a:lnTo>
                  <a:lnTo>
                    <a:pt x="57" y="25"/>
                  </a:lnTo>
                  <a:lnTo>
                    <a:pt x="46" y="20"/>
                  </a:lnTo>
                  <a:lnTo>
                    <a:pt x="36" y="15"/>
                  </a:lnTo>
                  <a:lnTo>
                    <a:pt x="28" y="9"/>
                  </a:lnTo>
                  <a:lnTo>
                    <a:pt x="22" y="3"/>
                  </a:lnTo>
                  <a:lnTo>
                    <a:pt x="19" y="1"/>
                  </a:lnTo>
                  <a:lnTo>
                    <a:pt x="16" y="0"/>
                  </a:lnTo>
                  <a:lnTo>
                    <a:pt x="11" y="0"/>
                  </a:lnTo>
                  <a:lnTo>
                    <a:pt x="8" y="1"/>
                  </a:lnTo>
                  <a:lnTo>
                    <a:pt x="5" y="3"/>
                  </a:lnTo>
                  <a:lnTo>
                    <a:pt x="2" y="5"/>
                  </a:lnTo>
                  <a:lnTo>
                    <a:pt x="1" y="8"/>
                  </a:lnTo>
                  <a:lnTo>
                    <a:pt x="0" y="11"/>
                  </a:lnTo>
                  <a:lnTo>
                    <a:pt x="0" y="264"/>
                  </a:lnTo>
                  <a:lnTo>
                    <a:pt x="1" y="281"/>
                  </a:lnTo>
                  <a:lnTo>
                    <a:pt x="3" y="298"/>
                  </a:lnTo>
                  <a:lnTo>
                    <a:pt x="7" y="316"/>
                  </a:lnTo>
                  <a:lnTo>
                    <a:pt x="12" y="333"/>
                  </a:lnTo>
                  <a:lnTo>
                    <a:pt x="18" y="349"/>
                  </a:lnTo>
                  <a:lnTo>
                    <a:pt x="25" y="364"/>
                  </a:lnTo>
                  <a:lnTo>
                    <a:pt x="32" y="380"/>
                  </a:lnTo>
                  <a:lnTo>
                    <a:pt x="39" y="394"/>
                  </a:lnTo>
                  <a:lnTo>
                    <a:pt x="55" y="420"/>
                  </a:lnTo>
                  <a:lnTo>
                    <a:pt x="72" y="443"/>
                  </a:lnTo>
                  <a:lnTo>
                    <a:pt x="88" y="462"/>
                  </a:lnTo>
                  <a:lnTo>
                    <a:pt x="101" y="477"/>
                  </a:lnTo>
                  <a:lnTo>
                    <a:pt x="256" y="622"/>
                  </a:lnTo>
                  <a:lnTo>
                    <a:pt x="258" y="623"/>
                  </a:lnTo>
                  <a:lnTo>
                    <a:pt x="260" y="624"/>
                  </a:lnTo>
                  <a:lnTo>
                    <a:pt x="242" y="601"/>
                  </a:lnTo>
                  <a:lnTo>
                    <a:pt x="225" y="577"/>
                  </a:lnTo>
                  <a:lnTo>
                    <a:pt x="217" y="565"/>
                  </a:lnTo>
                  <a:lnTo>
                    <a:pt x="209" y="551"/>
                  </a:lnTo>
                  <a:lnTo>
                    <a:pt x="201" y="538"/>
                  </a:lnTo>
                  <a:lnTo>
                    <a:pt x="195" y="525"/>
                  </a:lnTo>
                  <a:lnTo>
                    <a:pt x="189" y="511"/>
                  </a:lnTo>
                  <a:lnTo>
                    <a:pt x="184" y="497"/>
                  </a:lnTo>
                  <a:lnTo>
                    <a:pt x="180" y="482"/>
                  </a:lnTo>
                  <a:lnTo>
                    <a:pt x="176" y="468"/>
                  </a:lnTo>
                  <a:lnTo>
                    <a:pt x="173" y="453"/>
                  </a:lnTo>
                  <a:lnTo>
                    <a:pt x="171" y="439"/>
                  </a:lnTo>
                  <a:lnTo>
                    <a:pt x="169" y="423"/>
                  </a:lnTo>
                  <a:lnTo>
                    <a:pt x="169" y="407"/>
                  </a:lnTo>
                  <a:lnTo>
                    <a:pt x="169"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2709">
              <a:extLst>
                <a:ext uri="{FF2B5EF4-FFF2-40B4-BE49-F238E27FC236}">
                  <a16:creationId xmlns:a16="http://schemas.microsoft.com/office/drawing/2014/main" id="{4BACAA36-6FDD-4EBE-91F3-964146A095B2}"/>
                </a:ext>
              </a:extLst>
            </p:cNvPr>
            <p:cNvSpPr>
              <a:spLocks noEditPoints="1"/>
            </p:cNvSpPr>
            <p:nvPr/>
          </p:nvSpPr>
          <p:spPr bwMode="auto">
            <a:xfrm>
              <a:off x="2684463" y="841375"/>
              <a:ext cx="209550" cy="234950"/>
            </a:xfrm>
            <a:custGeom>
              <a:avLst/>
              <a:gdLst>
                <a:gd name="T0" fmla="*/ 408 w 529"/>
                <a:gd name="T1" fmla="*/ 242 h 590"/>
                <a:gd name="T2" fmla="*/ 393 w 529"/>
                <a:gd name="T3" fmla="*/ 212 h 590"/>
                <a:gd name="T4" fmla="*/ 358 w 529"/>
                <a:gd name="T5" fmla="*/ 208 h 590"/>
                <a:gd name="T6" fmla="*/ 337 w 529"/>
                <a:gd name="T7" fmla="*/ 234 h 590"/>
                <a:gd name="T8" fmla="*/ 324 w 529"/>
                <a:gd name="T9" fmla="*/ 254 h 590"/>
                <a:gd name="T10" fmla="*/ 312 w 529"/>
                <a:gd name="T11" fmla="*/ 236 h 590"/>
                <a:gd name="T12" fmla="*/ 322 w 529"/>
                <a:gd name="T13" fmla="*/ 208 h 590"/>
                <a:gd name="T14" fmla="*/ 344 w 529"/>
                <a:gd name="T15" fmla="*/ 189 h 590"/>
                <a:gd name="T16" fmla="*/ 372 w 529"/>
                <a:gd name="T17" fmla="*/ 182 h 590"/>
                <a:gd name="T18" fmla="*/ 401 w 529"/>
                <a:gd name="T19" fmla="*/ 189 h 590"/>
                <a:gd name="T20" fmla="*/ 422 w 529"/>
                <a:gd name="T21" fmla="*/ 208 h 590"/>
                <a:gd name="T22" fmla="*/ 432 w 529"/>
                <a:gd name="T23" fmla="*/ 236 h 590"/>
                <a:gd name="T24" fmla="*/ 420 w 529"/>
                <a:gd name="T25" fmla="*/ 254 h 590"/>
                <a:gd name="T26" fmla="*/ 222 w 529"/>
                <a:gd name="T27" fmla="*/ 473 h 590"/>
                <a:gd name="T28" fmla="*/ 181 w 529"/>
                <a:gd name="T29" fmla="*/ 443 h 590"/>
                <a:gd name="T30" fmla="*/ 158 w 529"/>
                <a:gd name="T31" fmla="*/ 395 h 590"/>
                <a:gd name="T32" fmla="*/ 163 w 529"/>
                <a:gd name="T33" fmla="*/ 363 h 590"/>
                <a:gd name="T34" fmla="*/ 180 w 529"/>
                <a:gd name="T35" fmla="*/ 374 h 590"/>
                <a:gd name="T36" fmla="*/ 190 w 529"/>
                <a:gd name="T37" fmla="*/ 414 h 590"/>
                <a:gd name="T38" fmla="*/ 217 w 529"/>
                <a:gd name="T39" fmla="*/ 444 h 590"/>
                <a:gd name="T40" fmla="*/ 255 w 529"/>
                <a:gd name="T41" fmla="*/ 457 h 590"/>
                <a:gd name="T42" fmla="*/ 297 w 529"/>
                <a:gd name="T43" fmla="*/ 451 h 590"/>
                <a:gd name="T44" fmla="*/ 329 w 529"/>
                <a:gd name="T45" fmla="*/ 428 h 590"/>
                <a:gd name="T46" fmla="*/ 347 w 529"/>
                <a:gd name="T47" fmla="*/ 391 h 590"/>
                <a:gd name="T48" fmla="*/ 356 w 529"/>
                <a:gd name="T49" fmla="*/ 363 h 590"/>
                <a:gd name="T50" fmla="*/ 372 w 529"/>
                <a:gd name="T51" fmla="*/ 374 h 590"/>
                <a:gd name="T52" fmla="*/ 359 w 529"/>
                <a:gd name="T53" fmla="*/ 425 h 590"/>
                <a:gd name="T54" fmla="*/ 324 w 529"/>
                <a:gd name="T55" fmla="*/ 463 h 590"/>
                <a:gd name="T56" fmla="*/ 275 w 529"/>
                <a:gd name="T57" fmla="*/ 481 h 590"/>
                <a:gd name="T58" fmla="*/ 113 w 529"/>
                <a:gd name="T59" fmla="*/ 253 h 590"/>
                <a:gd name="T60" fmla="*/ 96 w 529"/>
                <a:gd name="T61" fmla="*/ 242 h 590"/>
                <a:gd name="T62" fmla="*/ 103 w 529"/>
                <a:gd name="T63" fmla="*/ 213 h 590"/>
                <a:gd name="T64" fmla="*/ 122 w 529"/>
                <a:gd name="T65" fmla="*/ 192 h 590"/>
                <a:gd name="T66" fmla="*/ 150 w 529"/>
                <a:gd name="T67" fmla="*/ 182 h 590"/>
                <a:gd name="T68" fmla="*/ 179 w 529"/>
                <a:gd name="T69" fmla="*/ 187 h 590"/>
                <a:gd name="T70" fmla="*/ 203 w 529"/>
                <a:gd name="T71" fmla="*/ 204 h 590"/>
                <a:gd name="T72" fmla="*/ 215 w 529"/>
                <a:gd name="T73" fmla="*/ 229 h 590"/>
                <a:gd name="T74" fmla="*/ 209 w 529"/>
                <a:gd name="T75" fmla="*/ 253 h 590"/>
                <a:gd name="T76" fmla="*/ 192 w 529"/>
                <a:gd name="T77" fmla="*/ 242 h 590"/>
                <a:gd name="T78" fmla="*/ 176 w 529"/>
                <a:gd name="T79" fmla="*/ 212 h 590"/>
                <a:gd name="T80" fmla="*/ 142 w 529"/>
                <a:gd name="T81" fmla="*/ 208 h 590"/>
                <a:gd name="T82" fmla="*/ 120 w 529"/>
                <a:gd name="T83" fmla="*/ 234 h 590"/>
                <a:gd name="T84" fmla="*/ 510 w 529"/>
                <a:gd name="T85" fmla="*/ 18 h 590"/>
                <a:gd name="T86" fmla="*/ 474 w 529"/>
                <a:gd name="T87" fmla="*/ 41 h 590"/>
                <a:gd name="T88" fmla="*/ 364 w 529"/>
                <a:gd name="T89" fmla="*/ 68 h 590"/>
                <a:gd name="T90" fmla="*/ 264 w 529"/>
                <a:gd name="T91" fmla="*/ 73 h 590"/>
                <a:gd name="T92" fmla="*/ 128 w 529"/>
                <a:gd name="T93" fmla="*/ 63 h 590"/>
                <a:gd name="T94" fmla="*/ 56 w 529"/>
                <a:gd name="T95" fmla="*/ 42 h 590"/>
                <a:gd name="T96" fmla="*/ 0 w 529"/>
                <a:gd name="T97" fmla="*/ 0 h 590"/>
                <a:gd name="T98" fmla="*/ 4 w 529"/>
                <a:gd name="T99" fmla="*/ 325 h 590"/>
                <a:gd name="T100" fmla="*/ 32 w 529"/>
                <a:gd name="T101" fmla="*/ 399 h 590"/>
                <a:gd name="T102" fmla="*/ 77 w 529"/>
                <a:gd name="T103" fmla="*/ 464 h 590"/>
                <a:gd name="T104" fmla="*/ 152 w 529"/>
                <a:gd name="T105" fmla="*/ 536 h 590"/>
                <a:gd name="T106" fmla="*/ 242 w 529"/>
                <a:gd name="T107" fmla="*/ 586 h 590"/>
                <a:gd name="T108" fmla="*/ 278 w 529"/>
                <a:gd name="T109" fmla="*/ 588 h 590"/>
                <a:gd name="T110" fmla="*/ 354 w 529"/>
                <a:gd name="T111" fmla="*/ 551 h 590"/>
                <a:gd name="T112" fmla="*/ 441 w 529"/>
                <a:gd name="T113" fmla="*/ 476 h 590"/>
                <a:gd name="T114" fmla="*/ 488 w 529"/>
                <a:gd name="T115" fmla="*/ 412 h 590"/>
                <a:gd name="T116" fmla="*/ 520 w 529"/>
                <a:gd name="T117" fmla="*/ 340 h 590"/>
                <a:gd name="T118" fmla="*/ 529 w 529"/>
                <a:gd name="T119" fmla="*/ 29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29" h="590">
                  <a:moveTo>
                    <a:pt x="420" y="254"/>
                  </a:moveTo>
                  <a:lnTo>
                    <a:pt x="416" y="253"/>
                  </a:lnTo>
                  <a:lnTo>
                    <a:pt x="412" y="251"/>
                  </a:lnTo>
                  <a:lnTo>
                    <a:pt x="409" y="247"/>
                  </a:lnTo>
                  <a:lnTo>
                    <a:pt x="408" y="242"/>
                  </a:lnTo>
                  <a:lnTo>
                    <a:pt x="408" y="234"/>
                  </a:lnTo>
                  <a:lnTo>
                    <a:pt x="406" y="227"/>
                  </a:lnTo>
                  <a:lnTo>
                    <a:pt x="402" y="221"/>
                  </a:lnTo>
                  <a:lnTo>
                    <a:pt x="398" y="216"/>
                  </a:lnTo>
                  <a:lnTo>
                    <a:pt x="393" y="212"/>
                  </a:lnTo>
                  <a:lnTo>
                    <a:pt x="386" y="208"/>
                  </a:lnTo>
                  <a:lnTo>
                    <a:pt x="379" y="206"/>
                  </a:lnTo>
                  <a:lnTo>
                    <a:pt x="372" y="206"/>
                  </a:lnTo>
                  <a:lnTo>
                    <a:pt x="365" y="206"/>
                  </a:lnTo>
                  <a:lnTo>
                    <a:pt x="358" y="208"/>
                  </a:lnTo>
                  <a:lnTo>
                    <a:pt x="352" y="212"/>
                  </a:lnTo>
                  <a:lnTo>
                    <a:pt x="347" y="216"/>
                  </a:lnTo>
                  <a:lnTo>
                    <a:pt x="343" y="221"/>
                  </a:lnTo>
                  <a:lnTo>
                    <a:pt x="339" y="227"/>
                  </a:lnTo>
                  <a:lnTo>
                    <a:pt x="337" y="234"/>
                  </a:lnTo>
                  <a:lnTo>
                    <a:pt x="336" y="242"/>
                  </a:lnTo>
                  <a:lnTo>
                    <a:pt x="336" y="247"/>
                  </a:lnTo>
                  <a:lnTo>
                    <a:pt x="333" y="251"/>
                  </a:lnTo>
                  <a:lnTo>
                    <a:pt x="329" y="253"/>
                  </a:lnTo>
                  <a:lnTo>
                    <a:pt x="324" y="254"/>
                  </a:lnTo>
                  <a:lnTo>
                    <a:pt x="319" y="253"/>
                  </a:lnTo>
                  <a:lnTo>
                    <a:pt x="315" y="251"/>
                  </a:lnTo>
                  <a:lnTo>
                    <a:pt x="313" y="247"/>
                  </a:lnTo>
                  <a:lnTo>
                    <a:pt x="312" y="242"/>
                  </a:lnTo>
                  <a:lnTo>
                    <a:pt x="312" y="236"/>
                  </a:lnTo>
                  <a:lnTo>
                    <a:pt x="313" y="229"/>
                  </a:lnTo>
                  <a:lnTo>
                    <a:pt x="315" y="224"/>
                  </a:lnTo>
                  <a:lnTo>
                    <a:pt x="317" y="218"/>
                  </a:lnTo>
                  <a:lnTo>
                    <a:pt x="319" y="213"/>
                  </a:lnTo>
                  <a:lnTo>
                    <a:pt x="322" y="208"/>
                  </a:lnTo>
                  <a:lnTo>
                    <a:pt x="325" y="204"/>
                  </a:lnTo>
                  <a:lnTo>
                    <a:pt x="330" y="199"/>
                  </a:lnTo>
                  <a:lnTo>
                    <a:pt x="334" y="196"/>
                  </a:lnTo>
                  <a:lnTo>
                    <a:pt x="339" y="192"/>
                  </a:lnTo>
                  <a:lnTo>
                    <a:pt x="344" y="189"/>
                  </a:lnTo>
                  <a:lnTo>
                    <a:pt x="349" y="187"/>
                  </a:lnTo>
                  <a:lnTo>
                    <a:pt x="354" y="185"/>
                  </a:lnTo>
                  <a:lnTo>
                    <a:pt x="360" y="183"/>
                  </a:lnTo>
                  <a:lnTo>
                    <a:pt x="366" y="182"/>
                  </a:lnTo>
                  <a:lnTo>
                    <a:pt x="372" y="182"/>
                  </a:lnTo>
                  <a:lnTo>
                    <a:pt x="378" y="182"/>
                  </a:lnTo>
                  <a:lnTo>
                    <a:pt x="384" y="183"/>
                  </a:lnTo>
                  <a:lnTo>
                    <a:pt x="391" y="185"/>
                  </a:lnTo>
                  <a:lnTo>
                    <a:pt x="396" y="187"/>
                  </a:lnTo>
                  <a:lnTo>
                    <a:pt x="401" y="189"/>
                  </a:lnTo>
                  <a:lnTo>
                    <a:pt x="406" y="192"/>
                  </a:lnTo>
                  <a:lnTo>
                    <a:pt x="411" y="196"/>
                  </a:lnTo>
                  <a:lnTo>
                    <a:pt x="415" y="199"/>
                  </a:lnTo>
                  <a:lnTo>
                    <a:pt x="419" y="204"/>
                  </a:lnTo>
                  <a:lnTo>
                    <a:pt x="422" y="208"/>
                  </a:lnTo>
                  <a:lnTo>
                    <a:pt x="425" y="213"/>
                  </a:lnTo>
                  <a:lnTo>
                    <a:pt x="427" y="218"/>
                  </a:lnTo>
                  <a:lnTo>
                    <a:pt x="429" y="224"/>
                  </a:lnTo>
                  <a:lnTo>
                    <a:pt x="431" y="229"/>
                  </a:lnTo>
                  <a:lnTo>
                    <a:pt x="432" y="236"/>
                  </a:lnTo>
                  <a:lnTo>
                    <a:pt x="432" y="242"/>
                  </a:lnTo>
                  <a:lnTo>
                    <a:pt x="431" y="247"/>
                  </a:lnTo>
                  <a:lnTo>
                    <a:pt x="429" y="251"/>
                  </a:lnTo>
                  <a:lnTo>
                    <a:pt x="425" y="253"/>
                  </a:lnTo>
                  <a:lnTo>
                    <a:pt x="420" y="254"/>
                  </a:lnTo>
                  <a:close/>
                  <a:moveTo>
                    <a:pt x="265" y="481"/>
                  </a:moveTo>
                  <a:lnTo>
                    <a:pt x="253" y="481"/>
                  </a:lnTo>
                  <a:lnTo>
                    <a:pt x="242" y="479"/>
                  </a:lnTo>
                  <a:lnTo>
                    <a:pt x="232" y="477"/>
                  </a:lnTo>
                  <a:lnTo>
                    <a:pt x="222" y="473"/>
                  </a:lnTo>
                  <a:lnTo>
                    <a:pt x="213" y="469"/>
                  </a:lnTo>
                  <a:lnTo>
                    <a:pt x="204" y="463"/>
                  </a:lnTo>
                  <a:lnTo>
                    <a:pt x="195" y="457"/>
                  </a:lnTo>
                  <a:lnTo>
                    <a:pt x="187" y="450"/>
                  </a:lnTo>
                  <a:lnTo>
                    <a:pt x="181" y="443"/>
                  </a:lnTo>
                  <a:lnTo>
                    <a:pt x="174" y="435"/>
                  </a:lnTo>
                  <a:lnTo>
                    <a:pt x="169" y="425"/>
                  </a:lnTo>
                  <a:lnTo>
                    <a:pt x="165" y="416"/>
                  </a:lnTo>
                  <a:lnTo>
                    <a:pt x="161" y="406"/>
                  </a:lnTo>
                  <a:lnTo>
                    <a:pt x="158" y="395"/>
                  </a:lnTo>
                  <a:lnTo>
                    <a:pt x="157" y="385"/>
                  </a:lnTo>
                  <a:lnTo>
                    <a:pt x="156" y="374"/>
                  </a:lnTo>
                  <a:lnTo>
                    <a:pt x="157" y="370"/>
                  </a:lnTo>
                  <a:lnTo>
                    <a:pt x="160" y="366"/>
                  </a:lnTo>
                  <a:lnTo>
                    <a:pt x="163" y="363"/>
                  </a:lnTo>
                  <a:lnTo>
                    <a:pt x="168" y="361"/>
                  </a:lnTo>
                  <a:lnTo>
                    <a:pt x="173" y="363"/>
                  </a:lnTo>
                  <a:lnTo>
                    <a:pt x="176" y="366"/>
                  </a:lnTo>
                  <a:lnTo>
                    <a:pt x="179" y="370"/>
                  </a:lnTo>
                  <a:lnTo>
                    <a:pt x="180" y="374"/>
                  </a:lnTo>
                  <a:lnTo>
                    <a:pt x="180" y="382"/>
                  </a:lnTo>
                  <a:lnTo>
                    <a:pt x="182" y="391"/>
                  </a:lnTo>
                  <a:lnTo>
                    <a:pt x="184" y="399"/>
                  </a:lnTo>
                  <a:lnTo>
                    <a:pt x="186" y="406"/>
                  </a:lnTo>
                  <a:lnTo>
                    <a:pt x="190" y="414"/>
                  </a:lnTo>
                  <a:lnTo>
                    <a:pt x="194" y="420"/>
                  </a:lnTo>
                  <a:lnTo>
                    <a:pt x="199" y="428"/>
                  </a:lnTo>
                  <a:lnTo>
                    <a:pt x="205" y="434"/>
                  </a:lnTo>
                  <a:lnTo>
                    <a:pt x="211" y="439"/>
                  </a:lnTo>
                  <a:lnTo>
                    <a:pt x="217" y="444"/>
                  </a:lnTo>
                  <a:lnTo>
                    <a:pt x="224" y="448"/>
                  </a:lnTo>
                  <a:lnTo>
                    <a:pt x="231" y="451"/>
                  </a:lnTo>
                  <a:lnTo>
                    <a:pt x="239" y="454"/>
                  </a:lnTo>
                  <a:lnTo>
                    <a:pt x="247" y="456"/>
                  </a:lnTo>
                  <a:lnTo>
                    <a:pt x="255" y="457"/>
                  </a:lnTo>
                  <a:lnTo>
                    <a:pt x="265" y="458"/>
                  </a:lnTo>
                  <a:lnTo>
                    <a:pt x="273" y="457"/>
                  </a:lnTo>
                  <a:lnTo>
                    <a:pt x="281" y="456"/>
                  </a:lnTo>
                  <a:lnTo>
                    <a:pt x="289" y="454"/>
                  </a:lnTo>
                  <a:lnTo>
                    <a:pt x="297" y="451"/>
                  </a:lnTo>
                  <a:lnTo>
                    <a:pt x="304" y="448"/>
                  </a:lnTo>
                  <a:lnTo>
                    <a:pt x="311" y="444"/>
                  </a:lnTo>
                  <a:lnTo>
                    <a:pt x="317" y="439"/>
                  </a:lnTo>
                  <a:lnTo>
                    <a:pt x="323" y="434"/>
                  </a:lnTo>
                  <a:lnTo>
                    <a:pt x="329" y="428"/>
                  </a:lnTo>
                  <a:lnTo>
                    <a:pt x="334" y="420"/>
                  </a:lnTo>
                  <a:lnTo>
                    <a:pt x="338" y="414"/>
                  </a:lnTo>
                  <a:lnTo>
                    <a:pt x="342" y="406"/>
                  </a:lnTo>
                  <a:lnTo>
                    <a:pt x="345" y="399"/>
                  </a:lnTo>
                  <a:lnTo>
                    <a:pt x="347" y="391"/>
                  </a:lnTo>
                  <a:lnTo>
                    <a:pt x="348" y="382"/>
                  </a:lnTo>
                  <a:lnTo>
                    <a:pt x="348" y="374"/>
                  </a:lnTo>
                  <a:lnTo>
                    <a:pt x="349" y="370"/>
                  </a:lnTo>
                  <a:lnTo>
                    <a:pt x="352" y="366"/>
                  </a:lnTo>
                  <a:lnTo>
                    <a:pt x="356" y="363"/>
                  </a:lnTo>
                  <a:lnTo>
                    <a:pt x="360" y="361"/>
                  </a:lnTo>
                  <a:lnTo>
                    <a:pt x="365" y="363"/>
                  </a:lnTo>
                  <a:lnTo>
                    <a:pt x="368" y="366"/>
                  </a:lnTo>
                  <a:lnTo>
                    <a:pt x="371" y="370"/>
                  </a:lnTo>
                  <a:lnTo>
                    <a:pt x="372" y="374"/>
                  </a:lnTo>
                  <a:lnTo>
                    <a:pt x="371" y="385"/>
                  </a:lnTo>
                  <a:lnTo>
                    <a:pt x="370" y="395"/>
                  </a:lnTo>
                  <a:lnTo>
                    <a:pt x="367" y="406"/>
                  </a:lnTo>
                  <a:lnTo>
                    <a:pt x="364" y="416"/>
                  </a:lnTo>
                  <a:lnTo>
                    <a:pt x="359" y="425"/>
                  </a:lnTo>
                  <a:lnTo>
                    <a:pt x="354" y="435"/>
                  </a:lnTo>
                  <a:lnTo>
                    <a:pt x="348" y="443"/>
                  </a:lnTo>
                  <a:lnTo>
                    <a:pt x="341" y="450"/>
                  </a:lnTo>
                  <a:lnTo>
                    <a:pt x="333" y="457"/>
                  </a:lnTo>
                  <a:lnTo>
                    <a:pt x="324" y="463"/>
                  </a:lnTo>
                  <a:lnTo>
                    <a:pt x="315" y="469"/>
                  </a:lnTo>
                  <a:lnTo>
                    <a:pt x="306" y="473"/>
                  </a:lnTo>
                  <a:lnTo>
                    <a:pt x="296" y="477"/>
                  </a:lnTo>
                  <a:lnTo>
                    <a:pt x="286" y="479"/>
                  </a:lnTo>
                  <a:lnTo>
                    <a:pt x="275" y="481"/>
                  </a:lnTo>
                  <a:lnTo>
                    <a:pt x="265" y="481"/>
                  </a:lnTo>
                  <a:close/>
                  <a:moveTo>
                    <a:pt x="120" y="242"/>
                  </a:moveTo>
                  <a:lnTo>
                    <a:pt x="119" y="247"/>
                  </a:lnTo>
                  <a:lnTo>
                    <a:pt x="116" y="251"/>
                  </a:lnTo>
                  <a:lnTo>
                    <a:pt x="113" y="253"/>
                  </a:lnTo>
                  <a:lnTo>
                    <a:pt x="108" y="254"/>
                  </a:lnTo>
                  <a:lnTo>
                    <a:pt x="103" y="253"/>
                  </a:lnTo>
                  <a:lnTo>
                    <a:pt x="100" y="251"/>
                  </a:lnTo>
                  <a:lnTo>
                    <a:pt x="97" y="247"/>
                  </a:lnTo>
                  <a:lnTo>
                    <a:pt x="96" y="242"/>
                  </a:lnTo>
                  <a:lnTo>
                    <a:pt x="96" y="236"/>
                  </a:lnTo>
                  <a:lnTo>
                    <a:pt x="97" y="229"/>
                  </a:lnTo>
                  <a:lnTo>
                    <a:pt x="99" y="224"/>
                  </a:lnTo>
                  <a:lnTo>
                    <a:pt x="101" y="218"/>
                  </a:lnTo>
                  <a:lnTo>
                    <a:pt x="103" y="213"/>
                  </a:lnTo>
                  <a:lnTo>
                    <a:pt x="106" y="208"/>
                  </a:lnTo>
                  <a:lnTo>
                    <a:pt x="110" y="204"/>
                  </a:lnTo>
                  <a:lnTo>
                    <a:pt x="113" y="199"/>
                  </a:lnTo>
                  <a:lnTo>
                    <a:pt x="118" y="196"/>
                  </a:lnTo>
                  <a:lnTo>
                    <a:pt x="122" y="192"/>
                  </a:lnTo>
                  <a:lnTo>
                    <a:pt x="127" y="189"/>
                  </a:lnTo>
                  <a:lnTo>
                    <a:pt x="132" y="187"/>
                  </a:lnTo>
                  <a:lnTo>
                    <a:pt x="139" y="185"/>
                  </a:lnTo>
                  <a:lnTo>
                    <a:pt x="144" y="183"/>
                  </a:lnTo>
                  <a:lnTo>
                    <a:pt x="150" y="182"/>
                  </a:lnTo>
                  <a:lnTo>
                    <a:pt x="156" y="182"/>
                  </a:lnTo>
                  <a:lnTo>
                    <a:pt x="162" y="182"/>
                  </a:lnTo>
                  <a:lnTo>
                    <a:pt x="168" y="183"/>
                  </a:lnTo>
                  <a:lnTo>
                    <a:pt x="174" y="185"/>
                  </a:lnTo>
                  <a:lnTo>
                    <a:pt x="179" y="187"/>
                  </a:lnTo>
                  <a:lnTo>
                    <a:pt x="184" y="189"/>
                  </a:lnTo>
                  <a:lnTo>
                    <a:pt x="189" y="192"/>
                  </a:lnTo>
                  <a:lnTo>
                    <a:pt x="194" y="196"/>
                  </a:lnTo>
                  <a:lnTo>
                    <a:pt x="198" y="199"/>
                  </a:lnTo>
                  <a:lnTo>
                    <a:pt x="203" y="204"/>
                  </a:lnTo>
                  <a:lnTo>
                    <a:pt x="206" y="208"/>
                  </a:lnTo>
                  <a:lnTo>
                    <a:pt x="209" y="213"/>
                  </a:lnTo>
                  <a:lnTo>
                    <a:pt x="212" y="218"/>
                  </a:lnTo>
                  <a:lnTo>
                    <a:pt x="214" y="224"/>
                  </a:lnTo>
                  <a:lnTo>
                    <a:pt x="215" y="229"/>
                  </a:lnTo>
                  <a:lnTo>
                    <a:pt x="216" y="236"/>
                  </a:lnTo>
                  <a:lnTo>
                    <a:pt x="216" y="242"/>
                  </a:lnTo>
                  <a:lnTo>
                    <a:pt x="215" y="247"/>
                  </a:lnTo>
                  <a:lnTo>
                    <a:pt x="213" y="251"/>
                  </a:lnTo>
                  <a:lnTo>
                    <a:pt x="209" y="253"/>
                  </a:lnTo>
                  <a:lnTo>
                    <a:pt x="204" y="254"/>
                  </a:lnTo>
                  <a:lnTo>
                    <a:pt x="199" y="253"/>
                  </a:lnTo>
                  <a:lnTo>
                    <a:pt x="195" y="251"/>
                  </a:lnTo>
                  <a:lnTo>
                    <a:pt x="193" y="247"/>
                  </a:lnTo>
                  <a:lnTo>
                    <a:pt x="192" y="242"/>
                  </a:lnTo>
                  <a:lnTo>
                    <a:pt x="191" y="234"/>
                  </a:lnTo>
                  <a:lnTo>
                    <a:pt x="189" y="227"/>
                  </a:lnTo>
                  <a:lnTo>
                    <a:pt x="186" y="221"/>
                  </a:lnTo>
                  <a:lnTo>
                    <a:pt x="181" y="216"/>
                  </a:lnTo>
                  <a:lnTo>
                    <a:pt x="176" y="212"/>
                  </a:lnTo>
                  <a:lnTo>
                    <a:pt x="170" y="208"/>
                  </a:lnTo>
                  <a:lnTo>
                    <a:pt x="163" y="206"/>
                  </a:lnTo>
                  <a:lnTo>
                    <a:pt x="156" y="206"/>
                  </a:lnTo>
                  <a:lnTo>
                    <a:pt x="149" y="206"/>
                  </a:lnTo>
                  <a:lnTo>
                    <a:pt x="142" y="208"/>
                  </a:lnTo>
                  <a:lnTo>
                    <a:pt x="135" y="212"/>
                  </a:lnTo>
                  <a:lnTo>
                    <a:pt x="130" y="216"/>
                  </a:lnTo>
                  <a:lnTo>
                    <a:pt x="126" y="221"/>
                  </a:lnTo>
                  <a:lnTo>
                    <a:pt x="123" y="227"/>
                  </a:lnTo>
                  <a:lnTo>
                    <a:pt x="120" y="234"/>
                  </a:lnTo>
                  <a:lnTo>
                    <a:pt x="120" y="242"/>
                  </a:lnTo>
                  <a:close/>
                  <a:moveTo>
                    <a:pt x="521" y="18"/>
                  </a:moveTo>
                  <a:lnTo>
                    <a:pt x="518" y="17"/>
                  </a:lnTo>
                  <a:lnTo>
                    <a:pt x="513" y="17"/>
                  </a:lnTo>
                  <a:lnTo>
                    <a:pt x="510" y="18"/>
                  </a:lnTo>
                  <a:lnTo>
                    <a:pt x="507" y="20"/>
                  </a:lnTo>
                  <a:lnTo>
                    <a:pt x="504" y="23"/>
                  </a:lnTo>
                  <a:lnTo>
                    <a:pt x="501" y="26"/>
                  </a:lnTo>
                  <a:lnTo>
                    <a:pt x="489" y="34"/>
                  </a:lnTo>
                  <a:lnTo>
                    <a:pt x="474" y="41"/>
                  </a:lnTo>
                  <a:lnTo>
                    <a:pt x="456" y="49"/>
                  </a:lnTo>
                  <a:lnTo>
                    <a:pt x="436" y="55"/>
                  </a:lnTo>
                  <a:lnTo>
                    <a:pt x="414" y="60"/>
                  </a:lnTo>
                  <a:lnTo>
                    <a:pt x="390" y="65"/>
                  </a:lnTo>
                  <a:lnTo>
                    <a:pt x="364" y="68"/>
                  </a:lnTo>
                  <a:lnTo>
                    <a:pt x="336" y="71"/>
                  </a:lnTo>
                  <a:lnTo>
                    <a:pt x="318" y="72"/>
                  </a:lnTo>
                  <a:lnTo>
                    <a:pt x="301" y="73"/>
                  </a:lnTo>
                  <a:lnTo>
                    <a:pt x="283" y="73"/>
                  </a:lnTo>
                  <a:lnTo>
                    <a:pt x="264" y="73"/>
                  </a:lnTo>
                  <a:lnTo>
                    <a:pt x="222" y="73"/>
                  </a:lnTo>
                  <a:lnTo>
                    <a:pt x="182" y="70"/>
                  </a:lnTo>
                  <a:lnTo>
                    <a:pt x="164" y="68"/>
                  </a:lnTo>
                  <a:lnTo>
                    <a:pt x="146" y="65"/>
                  </a:lnTo>
                  <a:lnTo>
                    <a:pt x="128" y="63"/>
                  </a:lnTo>
                  <a:lnTo>
                    <a:pt x="111" y="59"/>
                  </a:lnTo>
                  <a:lnTo>
                    <a:pt x="96" y="56"/>
                  </a:lnTo>
                  <a:lnTo>
                    <a:pt x="82" y="52"/>
                  </a:lnTo>
                  <a:lnTo>
                    <a:pt x="68" y="48"/>
                  </a:lnTo>
                  <a:lnTo>
                    <a:pt x="56" y="42"/>
                  </a:lnTo>
                  <a:lnTo>
                    <a:pt x="45" y="37"/>
                  </a:lnTo>
                  <a:lnTo>
                    <a:pt x="35" y="32"/>
                  </a:lnTo>
                  <a:lnTo>
                    <a:pt x="27" y="26"/>
                  </a:lnTo>
                  <a:lnTo>
                    <a:pt x="21" y="20"/>
                  </a:lnTo>
                  <a:lnTo>
                    <a:pt x="0" y="0"/>
                  </a:lnTo>
                  <a:lnTo>
                    <a:pt x="0" y="29"/>
                  </a:lnTo>
                  <a:lnTo>
                    <a:pt x="0" y="277"/>
                  </a:lnTo>
                  <a:lnTo>
                    <a:pt x="0" y="293"/>
                  </a:lnTo>
                  <a:lnTo>
                    <a:pt x="2" y="310"/>
                  </a:lnTo>
                  <a:lnTo>
                    <a:pt x="4" y="325"/>
                  </a:lnTo>
                  <a:lnTo>
                    <a:pt x="8" y="340"/>
                  </a:lnTo>
                  <a:lnTo>
                    <a:pt x="14" y="355"/>
                  </a:lnTo>
                  <a:lnTo>
                    <a:pt x="19" y="371"/>
                  </a:lnTo>
                  <a:lnTo>
                    <a:pt x="25" y="385"/>
                  </a:lnTo>
                  <a:lnTo>
                    <a:pt x="32" y="399"/>
                  </a:lnTo>
                  <a:lnTo>
                    <a:pt x="40" y="412"/>
                  </a:lnTo>
                  <a:lnTo>
                    <a:pt x="48" y="427"/>
                  </a:lnTo>
                  <a:lnTo>
                    <a:pt x="57" y="439"/>
                  </a:lnTo>
                  <a:lnTo>
                    <a:pt x="66" y="452"/>
                  </a:lnTo>
                  <a:lnTo>
                    <a:pt x="77" y="464"/>
                  </a:lnTo>
                  <a:lnTo>
                    <a:pt x="87" y="476"/>
                  </a:lnTo>
                  <a:lnTo>
                    <a:pt x="97" y="487"/>
                  </a:lnTo>
                  <a:lnTo>
                    <a:pt x="108" y="498"/>
                  </a:lnTo>
                  <a:lnTo>
                    <a:pt x="129" y="518"/>
                  </a:lnTo>
                  <a:lnTo>
                    <a:pt x="152" y="536"/>
                  </a:lnTo>
                  <a:lnTo>
                    <a:pt x="174" y="551"/>
                  </a:lnTo>
                  <a:lnTo>
                    <a:pt x="195" y="565"/>
                  </a:lnTo>
                  <a:lnTo>
                    <a:pt x="216" y="576"/>
                  </a:lnTo>
                  <a:lnTo>
                    <a:pt x="234" y="583"/>
                  </a:lnTo>
                  <a:lnTo>
                    <a:pt x="242" y="586"/>
                  </a:lnTo>
                  <a:lnTo>
                    <a:pt x="250" y="588"/>
                  </a:lnTo>
                  <a:lnTo>
                    <a:pt x="257" y="589"/>
                  </a:lnTo>
                  <a:lnTo>
                    <a:pt x="265" y="590"/>
                  </a:lnTo>
                  <a:lnTo>
                    <a:pt x="271" y="589"/>
                  </a:lnTo>
                  <a:lnTo>
                    <a:pt x="278" y="588"/>
                  </a:lnTo>
                  <a:lnTo>
                    <a:pt x="286" y="586"/>
                  </a:lnTo>
                  <a:lnTo>
                    <a:pt x="294" y="583"/>
                  </a:lnTo>
                  <a:lnTo>
                    <a:pt x="312" y="576"/>
                  </a:lnTo>
                  <a:lnTo>
                    <a:pt x="333" y="565"/>
                  </a:lnTo>
                  <a:lnTo>
                    <a:pt x="354" y="551"/>
                  </a:lnTo>
                  <a:lnTo>
                    <a:pt x="376" y="536"/>
                  </a:lnTo>
                  <a:lnTo>
                    <a:pt x="399" y="518"/>
                  </a:lnTo>
                  <a:lnTo>
                    <a:pt x="420" y="498"/>
                  </a:lnTo>
                  <a:lnTo>
                    <a:pt x="431" y="487"/>
                  </a:lnTo>
                  <a:lnTo>
                    <a:pt x="441" y="476"/>
                  </a:lnTo>
                  <a:lnTo>
                    <a:pt x="451" y="464"/>
                  </a:lnTo>
                  <a:lnTo>
                    <a:pt x="462" y="452"/>
                  </a:lnTo>
                  <a:lnTo>
                    <a:pt x="471" y="439"/>
                  </a:lnTo>
                  <a:lnTo>
                    <a:pt x="480" y="427"/>
                  </a:lnTo>
                  <a:lnTo>
                    <a:pt x="488" y="412"/>
                  </a:lnTo>
                  <a:lnTo>
                    <a:pt x="496" y="399"/>
                  </a:lnTo>
                  <a:lnTo>
                    <a:pt x="503" y="385"/>
                  </a:lnTo>
                  <a:lnTo>
                    <a:pt x="509" y="371"/>
                  </a:lnTo>
                  <a:lnTo>
                    <a:pt x="514" y="355"/>
                  </a:lnTo>
                  <a:lnTo>
                    <a:pt x="520" y="340"/>
                  </a:lnTo>
                  <a:lnTo>
                    <a:pt x="524" y="325"/>
                  </a:lnTo>
                  <a:lnTo>
                    <a:pt x="526" y="310"/>
                  </a:lnTo>
                  <a:lnTo>
                    <a:pt x="528" y="293"/>
                  </a:lnTo>
                  <a:lnTo>
                    <a:pt x="529" y="277"/>
                  </a:lnTo>
                  <a:lnTo>
                    <a:pt x="529" y="29"/>
                  </a:lnTo>
                  <a:lnTo>
                    <a:pt x="528" y="25"/>
                  </a:lnTo>
                  <a:lnTo>
                    <a:pt x="527" y="22"/>
                  </a:lnTo>
                  <a:lnTo>
                    <a:pt x="524" y="20"/>
                  </a:lnTo>
                  <a:lnTo>
                    <a:pt x="52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1" name="Freeform 4197">
            <a:extLst>
              <a:ext uri="{FF2B5EF4-FFF2-40B4-BE49-F238E27FC236}">
                <a16:creationId xmlns:a16="http://schemas.microsoft.com/office/drawing/2014/main" id="{B85CBD80-ECA0-4F03-B17E-9495098888A6}"/>
              </a:ext>
            </a:extLst>
          </p:cNvPr>
          <p:cNvSpPr>
            <a:spLocks noEditPoints="1"/>
          </p:cNvSpPr>
          <p:nvPr/>
        </p:nvSpPr>
        <p:spPr bwMode="auto">
          <a:xfrm>
            <a:off x="908208" y="4800904"/>
            <a:ext cx="285750" cy="261938"/>
          </a:xfrm>
          <a:custGeom>
            <a:avLst/>
            <a:gdLst>
              <a:gd name="T0" fmla="*/ 540 w 901"/>
              <a:gd name="T1" fmla="*/ 161 h 826"/>
              <a:gd name="T2" fmla="*/ 360 w 901"/>
              <a:gd name="T3" fmla="*/ 255 h 826"/>
              <a:gd name="T4" fmla="*/ 360 w 901"/>
              <a:gd name="T5" fmla="*/ 255 h 826"/>
              <a:gd name="T6" fmla="*/ 201 w 901"/>
              <a:gd name="T7" fmla="*/ 255 h 826"/>
              <a:gd name="T8" fmla="*/ 749 w 901"/>
              <a:gd name="T9" fmla="*/ 46 h 826"/>
              <a:gd name="T10" fmla="*/ 692 w 901"/>
              <a:gd name="T11" fmla="*/ 248 h 826"/>
              <a:gd name="T12" fmla="*/ 568 w 901"/>
              <a:gd name="T13" fmla="*/ 103 h 826"/>
              <a:gd name="T14" fmla="*/ 556 w 901"/>
              <a:gd name="T15" fmla="*/ 104 h 826"/>
              <a:gd name="T16" fmla="*/ 341 w 901"/>
              <a:gd name="T17" fmla="*/ 135 h 826"/>
              <a:gd name="T18" fmla="*/ 333 w 901"/>
              <a:gd name="T19" fmla="*/ 141 h 826"/>
              <a:gd name="T20" fmla="*/ 330 w 901"/>
              <a:gd name="T21" fmla="*/ 255 h 826"/>
              <a:gd name="T22" fmla="*/ 120 w 901"/>
              <a:gd name="T23" fmla="*/ 4 h 826"/>
              <a:gd name="T24" fmla="*/ 109 w 901"/>
              <a:gd name="T25" fmla="*/ 0 h 826"/>
              <a:gd name="T26" fmla="*/ 5 w 901"/>
              <a:gd name="T27" fmla="*/ 48 h 826"/>
              <a:gd name="T28" fmla="*/ 0 w 901"/>
              <a:gd name="T29" fmla="*/ 58 h 826"/>
              <a:gd name="T30" fmla="*/ 82 w 901"/>
              <a:gd name="T31" fmla="*/ 255 h 826"/>
              <a:gd name="T32" fmla="*/ 5 w 901"/>
              <a:gd name="T33" fmla="*/ 259 h 826"/>
              <a:gd name="T34" fmla="*/ 0 w 901"/>
              <a:gd name="T35" fmla="*/ 271 h 826"/>
              <a:gd name="T36" fmla="*/ 120 w 901"/>
              <a:gd name="T37" fmla="*/ 643 h 826"/>
              <a:gd name="T38" fmla="*/ 589 w 901"/>
              <a:gd name="T39" fmla="*/ 676 h 826"/>
              <a:gd name="T40" fmla="*/ 157 w 901"/>
              <a:gd name="T41" fmla="*/ 679 h 826"/>
              <a:gd name="T42" fmla="*/ 131 w 901"/>
              <a:gd name="T43" fmla="*/ 693 h 826"/>
              <a:gd name="T44" fmla="*/ 113 w 901"/>
              <a:gd name="T45" fmla="*/ 716 h 826"/>
              <a:gd name="T46" fmla="*/ 105 w 901"/>
              <a:gd name="T47" fmla="*/ 744 h 826"/>
              <a:gd name="T48" fmla="*/ 108 w 901"/>
              <a:gd name="T49" fmla="*/ 774 h 826"/>
              <a:gd name="T50" fmla="*/ 122 w 901"/>
              <a:gd name="T51" fmla="*/ 798 h 826"/>
              <a:gd name="T52" fmla="*/ 144 w 901"/>
              <a:gd name="T53" fmla="*/ 818 h 826"/>
              <a:gd name="T54" fmla="*/ 172 w 901"/>
              <a:gd name="T55" fmla="*/ 826 h 826"/>
              <a:gd name="T56" fmla="*/ 202 w 901"/>
              <a:gd name="T57" fmla="*/ 823 h 826"/>
              <a:gd name="T58" fmla="*/ 228 w 901"/>
              <a:gd name="T59" fmla="*/ 809 h 826"/>
              <a:gd name="T60" fmla="*/ 246 w 901"/>
              <a:gd name="T61" fmla="*/ 787 h 826"/>
              <a:gd name="T62" fmla="*/ 255 w 901"/>
              <a:gd name="T63" fmla="*/ 759 h 826"/>
              <a:gd name="T64" fmla="*/ 246 w 901"/>
              <a:gd name="T65" fmla="*/ 716 h 826"/>
              <a:gd name="T66" fmla="*/ 514 w 901"/>
              <a:gd name="T67" fmla="*/ 727 h 826"/>
              <a:gd name="T68" fmla="*/ 512 w 901"/>
              <a:gd name="T69" fmla="*/ 766 h 826"/>
              <a:gd name="T70" fmla="*/ 523 w 901"/>
              <a:gd name="T71" fmla="*/ 793 h 826"/>
              <a:gd name="T72" fmla="*/ 543 w 901"/>
              <a:gd name="T73" fmla="*/ 813 h 826"/>
              <a:gd name="T74" fmla="*/ 570 w 901"/>
              <a:gd name="T75" fmla="*/ 825 h 826"/>
              <a:gd name="T76" fmla="*/ 601 w 901"/>
              <a:gd name="T77" fmla="*/ 825 h 826"/>
              <a:gd name="T78" fmla="*/ 628 w 901"/>
              <a:gd name="T79" fmla="*/ 813 h 826"/>
              <a:gd name="T80" fmla="*/ 648 w 901"/>
              <a:gd name="T81" fmla="*/ 793 h 826"/>
              <a:gd name="T82" fmla="*/ 659 w 901"/>
              <a:gd name="T83" fmla="*/ 766 h 826"/>
              <a:gd name="T84" fmla="*/ 658 w 901"/>
              <a:gd name="T85" fmla="*/ 730 h 826"/>
              <a:gd name="T86" fmla="*/ 635 w 901"/>
              <a:gd name="T87" fmla="*/ 695 h 826"/>
              <a:gd name="T88" fmla="*/ 630 w 901"/>
              <a:gd name="T89" fmla="*/ 635 h 826"/>
              <a:gd name="T90" fmla="*/ 886 w 901"/>
              <a:gd name="T91" fmla="*/ 75 h 826"/>
              <a:gd name="T92" fmla="*/ 897 w 901"/>
              <a:gd name="T93" fmla="*/ 70 h 826"/>
              <a:gd name="T94" fmla="*/ 901 w 901"/>
              <a:gd name="T95" fmla="*/ 60 h 826"/>
              <a:gd name="T96" fmla="*/ 897 w 901"/>
              <a:gd name="T97" fmla="*/ 49 h 826"/>
              <a:gd name="T98" fmla="*/ 886 w 901"/>
              <a:gd name="T99" fmla="*/ 4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1" h="826">
                <a:moveTo>
                  <a:pt x="442" y="255"/>
                </a:moveTo>
                <a:lnTo>
                  <a:pt x="540" y="161"/>
                </a:lnTo>
                <a:lnTo>
                  <a:pt x="540" y="161"/>
                </a:lnTo>
                <a:lnTo>
                  <a:pt x="540" y="161"/>
                </a:lnTo>
                <a:lnTo>
                  <a:pt x="562" y="139"/>
                </a:lnTo>
                <a:lnTo>
                  <a:pt x="659" y="255"/>
                </a:lnTo>
                <a:lnTo>
                  <a:pt x="442" y="255"/>
                </a:lnTo>
                <a:close/>
                <a:moveTo>
                  <a:pt x="360" y="255"/>
                </a:moveTo>
                <a:lnTo>
                  <a:pt x="360" y="165"/>
                </a:lnTo>
                <a:lnTo>
                  <a:pt x="493" y="165"/>
                </a:lnTo>
                <a:lnTo>
                  <a:pt x="399" y="255"/>
                </a:lnTo>
                <a:lnTo>
                  <a:pt x="360" y="255"/>
                </a:lnTo>
                <a:close/>
                <a:moveTo>
                  <a:pt x="114" y="255"/>
                </a:moveTo>
                <a:lnTo>
                  <a:pt x="34" y="67"/>
                </a:lnTo>
                <a:lnTo>
                  <a:pt x="101" y="35"/>
                </a:lnTo>
                <a:lnTo>
                  <a:pt x="201" y="255"/>
                </a:lnTo>
                <a:lnTo>
                  <a:pt x="114" y="255"/>
                </a:lnTo>
                <a:close/>
                <a:moveTo>
                  <a:pt x="886" y="45"/>
                </a:moveTo>
                <a:lnTo>
                  <a:pt x="753" y="45"/>
                </a:lnTo>
                <a:lnTo>
                  <a:pt x="749" y="46"/>
                </a:lnTo>
                <a:lnTo>
                  <a:pt x="745" y="48"/>
                </a:lnTo>
                <a:lnTo>
                  <a:pt x="740" y="51"/>
                </a:lnTo>
                <a:lnTo>
                  <a:pt x="739" y="57"/>
                </a:lnTo>
                <a:lnTo>
                  <a:pt x="692" y="248"/>
                </a:lnTo>
                <a:lnTo>
                  <a:pt x="575" y="107"/>
                </a:lnTo>
                <a:lnTo>
                  <a:pt x="573" y="105"/>
                </a:lnTo>
                <a:lnTo>
                  <a:pt x="571" y="104"/>
                </a:lnTo>
                <a:lnTo>
                  <a:pt x="568" y="103"/>
                </a:lnTo>
                <a:lnTo>
                  <a:pt x="564" y="102"/>
                </a:lnTo>
                <a:lnTo>
                  <a:pt x="561" y="102"/>
                </a:lnTo>
                <a:lnTo>
                  <a:pt x="559" y="103"/>
                </a:lnTo>
                <a:lnTo>
                  <a:pt x="556" y="104"/>
                </a:lnTo>
                <a:lnTo>
                  <a:pt x="554" y="106"/>
                </a:lnTo>
                <a:lnTo>
                  <a:pt x="524" y="135"/>
                </a:lnTo>
                <a:lnTo>
                  <a:pt x="345" y="135"/>
                </a:lnTo>
                <a:lnTo>
                  <a:pt x="341" y="135"/>
                </a:lnTo>
                <a:lnTo>
                  <a:pt x="339" y="136"/>
                </a:lnTo>
                <a:lnTo>
                  <a:pt x="336" y="138"/>
                </a:lnTo>
                <a:lnTo>
                  <a:pt x="334" y="139"/>
                </a:lnTo>
                <a:lnTo>
                  <a:pt x="333" y="141"/>
                </a:lnTo>
                <a:lnTo>
                  <a:pt x="331" y="144"/>
                </a:lnTo>
                <a:lnTo>
                  <a:pt x="331" y="147"/>
                </a:lnTo>
                <a:lnTo>
                  <a:pt x="330" y="150"/>
                </a:lnTo>
                <a:lnTo>
                  <a:pt x="330" y="255"/>
                </a:lnTo>
                <a:lnTo>
                  <a:pt x="234" y="255"/>
                </a:lnTo>
                <a:lnTo>
                  <a:pt x="123" y="8"/>
                </a:lnTo>
                <a:lnTo>
                  <a:pt x="122" y="6"/>
                </a:lnTo>
                <a:lnTo>
                  <a:pt x="120" y="4"/>
                </a:lnTo>
                <a:lnTo>
                  <a:pt x="117" y="2"/>
                </a:lnTo>
                <a:lnTo>
                  <a:pt x="114" y="1"/>
                </a:lnTo>
                <a:lnTo>
                  <a:pt x="111" y="0"/>
                </a:lnTo>
                <a:lnTo>
                  <a:pt x="109" y="0"/>
                </a:lnTo>
                <a:lnTo>
                  <a:pt x="106" y="0"/>
                </a:lnTo>
                <a:lnTo>
                  <a:pt x="102" y="1"/>
                </a:lnTo>
                <a:lnTo>
                  <a:pt x="8" y="46"/>
                </a:lnTo>
                <a:lnTo>
                  <a:pt x="5" y="48"/>
                </a:lnTo>
                <a:lnTo>
                  <a:pt x="3" y="50"/>
                </a:lnTo>
                <a:lnTo>
                  <a:pt x="2" y="52"/>
                </a:lnTo>
                <a:lnTo>
                  <a:pt x="1" y="54"/>
                </a:lnTo>
                <a:lnTo>
                  <a:pt x="0" y="58"/>
                </a:lnTo>
                <a:lnTo>
                  <a:pt x="0" y="60"/>
                </a:lnTo>
                <a:lnTo>
                  <a:pt x="0" y="63"/>
                </a:lnTo>
                <a:lnTo>
                  <a:pt x="1" y="66"/>
                </a:lnTo>
                <a:lnTo>
                  <a:pt x="82" y="255"/>
                </a:lnTo>
                <a:lnTo>
                  <a:pt x="15" y="255"/>
                </a:lnTo>
                <a:lnTo>
                  <a:pt x="11" y="256"/>
                </a:lnTo>
                <a:lnTo>
                  <a:pt x="7" y="257"/>
                </a:lnTo>
                <a:lnTo>
                  <a:pt x="5" y="259"/>
                </a:lnTo>
                <a:lnTo>
                  <a:pt x="2" y="261"/>
                </a:lnTo>
                <a:lnTo>
                  <a:pt x="1" y="265"/>
                </a:lnTo>
                <a:lnTo>
                  <a:pt x="0" y="268"/>
                </a:lnTo>
                <a:lnTo>
                  <a:pt x="0" y="271"/>
                </a:lnTo>
                <a:lnTo>
                  <a:pt x="1" y="275"/>
                </a:lnTo>
                <a:lnTo>
                  <a:pt x="114" y="635"/>
                </a:lnTo>
                <a:lnTo>
                  <a:pt x="116" y="640"/>
                </a:lnTo>
                <a:lnTo>
                  <a:pt x="120" y="643"/>
                </a:lnTo>
                <a:lnTo>
                  <a:pt x="123" y="645"/>
                </a:lnTo>
                <a:lnTo>
                  <a:pt x="128" y="646"/>
                </a:lnTo>
                <a:lnTo>
                  <a:pt x="596" y="646"/>
                </a:lnTo>
                <a:lnTo>
                  <a:pt x="589" y="676"/>
                </a:lnTo>
                <a:lnTo>
                  <a:pt x="180" y="676"/>
                </a:lnTo>
                <a:lnTo>
                  <a:pt x="172" y="676"/>
                </a:lnTo>
                <a:lnTo>
                  <a:pt x="165" y="677"/>
                </a:lnTo>
                <a:lnTo>
                  <a:pt x="157" y="679"/>
                </a:lnTo>
                <a:lnTo>
                  <a:pt x="151" y="682"/>
                </a:lnTo>
                <a:lnTo>
                  <a:pt x="144" y="685"/>
                </a:lnTo>
                <a:lnTo>
                  <a:pt x="138" y="689"/>
                </a:lnTo>
                <a:lnTo>
                  <a:pt x="131" y="693"/>
                </a:lnTo>
                <a:lnTo>
                  <a:pt x="127" y="698"/>
                </a:lnTo>
                <a:lnTo>
                  <a:pt x="122" y="703"/>
                </a:lnTo>
                <a:lnTo>
                  <a:pt x="117" y="709"/>
                </a:lnTo>
                <a:lnTo>
                  <a:pt x="113" y="716"/>
                </a:lnTo>
                <a:lnTo>
                  <a:pt x="110" y="722"/>
                </a:lnTo>
                <a:lnTo>
                  <a:pt x="108" y="729"/>
                </a:lnTo>
                <a:lnTo>
                  <a:pt x="106" y="736"/>
                </a:lnTo>
                <a:lnTo>
                  <a:pt x="105" y="744"/>
                </a:lnTo>
                <a:lnTo>
                  <a:pt x="105" y="751"/>
                </a:lnTo>
                <a:lnTo>
                  <a:pt x="105" y="759"/>
                </a:lnTo>
                <a:lnTo>
                  <a:pt x="106" y="766"/>
                </a:lnTo>
                <a:lnTo>
                  <a:pt x="108" y="774"/>
                </a:lnTo>
                <a:lnTo>
                  <a:pt x="110" y="780"/>
                </a:lnTo>
                <a:lnTo>
                  <a:pt x="113" y="787"/>
                </a:lnTo>
                <a:lnTo>
                  <a:pt x="117" y="793"/>
                </a:lnTo>
                <a:lnTo>
                  <a:pt x="122" y="798"/>
                </a:lnTo>
                <a:lnTo>
                  <a:pt x="127" y="804"/>
                </a:lnTo>
                <a:lnTo>
                  <a:pt x="131" y="809"/>
                </a:lnTo>
                <a:lnTo>
                  <a:pt x="138" y="813"/>
                </a:lnTo>
                <a:lnTo>
                  <a:pt x="144" y="818"/>
                </a:lnTo>
                <a:lnTo>
                  <a:pt x="151" y="821"/>
                </a:lnTo>
                <a:lnTo>
                  <a:pt x="157" y="823"/>
                </a:lnTo>
                <a:lnTo>
                  <a:pt x="165" y="825"/>
                </a:lnTo>
                <a:lnTo>
                  <a:pt x="172" y="826"/>
                </a:lnTo>
                <a:lnTo>
                  <a:pt x="180" y="826"/>
                </a:lnTo>
                <a:lnTo>
                  <a:pt x="187" y="826"/>
                </a:lnTo>
                <a:lnTo>
                  <a:pt x="195" y="825"/>
                </a:lnTo>
                <a:lnTo>
                  <a:pt x="202" y="823"/>
                </a:lnTo>
                <a:lnTo>
                  <a:pt x="209" y="821"/>
                </a:lnTo>
                <a:lnTo>
                  <a:pt x="215" y="818"/>
                </a:lnTo>
                <a:lnTo>
                  <a:pt x="221" y="813"/>
                </a:lnTo>
                <a:lnTo>
                  <a:pt x="228" y="809"/>
                </a:lnTo>
                <a:lnTo>
                  <a:pt x="233" y="804"/>
                </a:lnTo>
                <a:lnTo>
                  <a:pt x="238" y="798"/>
                </a:lnTo>
                <a:lnTo>
                  <a:pt x="242" y="793"/>
                </a:lnTo>
                <a:lnTo>
                  <a:pt x="246" y="787"/>
                </a:lnTo>
                <a:lnTo>
                  <a:pt x="249" y="780"/>
                </a:lnTo>
                <a:lnTo>
                  <a:pt x="251" y="774"/>
                </a:lnTo>
                <a:lnTo>
                  <a:pt x="254" y="766"/>
                </a:lnTo>
                <a:lnTo>
                  <a:pt x="255" y="759"/>
                </a:lnTo>
                <a:lnTo>
                  <a:pt x="255" y="751"/>
                </a:lnTo>
                <a:lnTo>
                  <a:pt x="254" y="738"/>
                </a:lnTo>
                <a:lnTo>
                  <a:pt x="250" y="727"/>
                </a:lnTo>
                <a:lnTo>
                  <a:pt x="246" y="716"/>
                </a:lnTo>
                <a:lnTo>
                  <a:pt x="240" y="706"/>
                </a:lnTo>
                <a:lnTo>
                  <a:pt x="526" y="706"/>
                </a:lnTo>
                <a:lnTo>
                  <a:pt x="519" y="716"/>
                </a:lnTo>
                <a:lnTo>
                  <a:pt x="514" y="727"/>
                </a:lnTo>
                <a:lnTo>
                  <a:pt x="511" y="738"/>
                </a:lnTo>
                <a:lnTo>
                  <a:pt x="510" y="751"/>
                </a:lnTo>
                <a:lnTo>
                  <a:pt x="511" y="759"/>
                </a:lnTo>
                <a:lnTo>
                  <a:pt x="512" y="766"/>
                </a:lnTo>
                <a:lnTo>
                  <a:pt x="514" y="774"/>
                </a:lnTo>
                <a:lnTo>
                  <a:pt x="516" y="780"/>
                </a:lnTo>
                <a:lnTo>
                  <a:pt x="519" y="787"/>
                </a:lnTo>
                <a:lnTo>
                  <a:pt x="523" y="793"/>
                </a:lnTo>
                <a:lnTo>
                  <a:pt x="528" y="798"/>
                </a:lnTo>
                <a:lnTo>
                  <a:pt x="532" y="804"/>
                </a:lnTo>
                <a:lnTo>
                  <a:pt x="538" y="809"/>
                </a:lnTo>
                <a:lnTo>
                  <a:pt x="543" y="813"/>
                </a:lnTo>
                <a:lnTo>
                  <a:pt x="549" y="818"/>
                </a:lnTo>
                <a:lnTo>
                  <a:pt x="556" y="821"/>
                </a:lnTo>
                <a:lnTo>
                  <a:pt x="563" y="823"/>
                </a:lnTo>
                <a:lnTo>
                  <a:pt x="570" y="825"/>
                </a:lnTo>
                <a:lnTo>
                  <a:pt x="577" y="826"/>
                </a:lnTo>
                <a:lnTo>
                  <a:pt x="586" y="826"/>
                </a:lnTo>
                <a:lnTo>
                  <a:pt x="593" y="826"/>
                </a:lnTo>
                <a:lnTo>
                  <a:pt x="601" y="825"/>
                </a:lnTo>
                <a:lnTo>
                  <a:pt x="607" y="823"/>
                </a:lnTo>
                <a:lnTo>
                  <a:pt x="615" y="821"/>
                </a:lnTo>
                <a:lnTo>
                  <a:pt x="621" y="818"/>
                </a:lnTo>
                <a:lnTo>
                  <a:pt x="628" y="813"/>
                </a:lnTo>
                <a:lnTo>
                  <a:pt x="633" y="809"/>
                </a:lnTo>
                <a:lnTo>
                  <a:pt x="638" y="804"/>
                </a:lnTo>
                <a:lnTo>
                  <a:pt x="644" y="798"/>
                </a:lnTo>
                <a:lnTo>
                  <a:pt x="648" y="793"/>
                </a:lnTo>
                <a:lnTo>
                  <a:pt x="651" y="787"/>
                </a:lnTo>
                <a:lnTo>
                  <a:pt x="654" y="780"/>
                </a:lnTo>
                <a:lnTo>
                  <a:pt x="658" y="774"/>
                </a:lnTo>
                <a:lnTo>
                  <a:pt x="659" y="766"/>
                </a:lnTo>
                <a:lnTo>
                  <a:pt x="660" y="759"/>
                </a:lnTo>
                <a:lnTo>
                  <a:pt x="661" y="751"/>
                </a:lnTo>
                <a:lnTo>
                  <a:pt x="660" y="740"/>
                </a:lnTo>
                <a:lnTo>
                  <a:pt x="658" y="730"/>
                </a:lnTo>
                <a:lnTo>
                  <a:pt x="653" y="720"/>
                </a:lnTo>
                <a:lnTo>
                  <a:pt x="649" y="710"/>
                </a:lnTo>
                <a:lnTo>
                  <a:pt x="643" y="702"/>
                </a:lnTo>
                <a:lnTo>
                  <a:pt x="635" y="695"/>
                </a:lnTo>
                <a:lnTo>
                  <a:pt x="627" y="689"/>
                </a:lnTo>
                <a:lnTo>
                  <a:pt x="618" y="684"/>
                </a:lnTo>
                <a:lnTo>
                  <a:pt x="629" y="637"/>
                </a:lnTo>
                <a:lnTo>
                  <a:pt x="630" y="635"/>
                </a:lnTo>
                <a:lnTo>
                  <a:pt x="630" y="634"/>
                </a:lnTo>
                <a:lnTo>
                  <a:pt x="717" y="274"/>
                </a:lnTo>
                <a:lnTo>
                  <a:pt x="765" y="75"/>
                </a:lnTo>
                <a:lnTo>
                  <a:pt x="886" y="75"/>
                </a:lnTo>
                <a:lnTo>
                  <a:pt x="889" y="75"/>
                </a:lnTo>
                <a:lnTo>
                  <a:pt x="891" y="74"/>
                </a:lnTo>
                <a:lnTo>
                  <a:pt x="895" y="73"/>
                </a:lnTo>
                <a:lnTo>
                  <a:pt x="897" y="70"/>
                </a:lnTo>
                <a:lnTo>
                  <a:pt x="899" y="68"/>
                </a:lnTo>
                <a:lnTo>
                  <a:pt x="900" y="66"/>
                </a:lnTo>
                <a:lnTo>
                  <a:pt x="901" y="63"/>
                </a:lnTo>
                <a:lnTo>
                  <a:pt x="901" y="60"/>
                </a:lnTo>
                <a:lnTo>
                  <a:pt x="901" y="57"/>
                </a:lnTo>
                <a:lnTo>
                  <a:pt x="900" y="54"/>
                </a:lnTo>
                <a:lnTo>
                  <a:pt x="899" y="51"/>
                </a:lnTo>
                <a:lnTo>
                  <a:pt x="897" y="49"/>
                </a:lnTo>
                <a:lnTo>
                  <a:pt x="895" y="47"/>
                </a:lnTo>
                <a:lnTo>
                  <a:pt x="891" y="46"/>
                </a:lnTo>
                <a:lnTo>
                  <a:pt x="889" y="45"/>
                </a:lnTo>
                <a:lnTo>
                  <a:pt x="886" y="4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72" name="Freeform 3073">
            <a:extLst>
              <a:ext uri="{FF2B5EF4-FFF2-40B4-BE49-F238E27FC236}">
                <a16:creationId xmlns:a16="http://schemas.microsoft.com/office/drawing/2014/main" id="{6EFEEE46-16D2-4A2A-B6D1-B7C90562337F}"/>
              </a:ext>
            </a:extLst>
          </p:cNvPr>
          <p:cNvSpPr>
            <a:spLocks noEditPoints="1"/>
          </p:cNvSpPr>
          <p:nvPr/>
        </p:nvSpPr>
        <p:spPr bwMode="auto">
          <a:xfrm>
            <a:off x="908208" y="5734051"/>
            <a:ext cx="285750" cy="285750"/>
          </a:xfrm>
          <a:custGeom>
            <a:avLst/>
            <a:gdLst>
              <a:gd name="T0" fmla="*/ 620 w 720"/>
              <a:gd name="T1" fmla="*/ 289 h 719"/>
              <a:gd name="T2" fmla="*/ 600 w 720"/>
              <a:gd name="T3" fmla="*/ 278 h 719"/>
              <a:gd name="T4" fmla="*/ 636 w 720"/>
              <a:gd name="T5" fmla="*/ 145 h 719"/>
              <a:gd name="T6" fmla="*/ 695 w 720"/>
              <a:gd name="T7" fmla="*/ 114 h 719"/>
              <a:gd name="T8" fmla="*/ 680 w 720"/>
              <a:gd name="T9" fmla="*/ 209 h 719"/>
              <a:gd name="T10" fmla="*/ 645 w 720"/>
              <a:gd name="T11" fmla="*/ 270 h 719"/>
              <a:gd name="T12" fmla="*/ 425 w 720"/>
              <a:gd name="T13" fmla="*/ 278 h 719"/>
              <a:gd name="T14" fmla="*/ 416 w 720"/>
              <a:gd name="T15" fmla="*/ 280 h 719"/>
              <a:gd name="T16" fmla="*/ 298 w 720"/>
              <a:gd name="T17" fmla="*/ 282 h 719"/>
              <a:gd name="T18" fmla="*/ 261 w 720"/>
              <a:gd name="T19" fmla="*/ 160 h 719"/>
              <a:gd name="T20" fmla="*/ 332 w 720"/>
              <a:gd name="T21" fmla="*/ 150 h 719"/>
              <a:gd name="T22" fmla="*/ 364 w 720"/>
              <a:gd name="T23" fmla="*/ 101 h 719"/>
              <a:gd name="T24" fmla="*/ 462 w 720"/>
              <a:gd name="T25" fmla="*/ 158 h 719"/>
              <a:gd name="T26" fmla="*/ 49 w 720"/>
              <a:gd name="T27" fmla="*/ 236 h 719"/>
              <a:gd name="T28" fmla="*/ 29 w 720"/>
              <a:gd name="T29" fmla="*/ 170 h 719"/>
              <a:gd name="T30" fmla="*/ 24 w 720"/>
              <a:gd name="T31" fmla="*/ 72 h 719"/>
              <a:gd name="T32" fmla="*/ 90 w 720"/>
              <a:gd name="T33" fmla="*/ 177 h 719"/>
              <a:gd name="T34" fmla="*/ 129 w 720"/>
              <a:gd name="T35" fmla="*/ 298 h 719"/>
              <a:gd name="T36" fmla="*/ 91 w 720"/>
              <a:gd name="T37" fmla="*/ 284 h 719"/>
              <a:gd name="T38" fmla="*/ 719 w 720"/>
              <a:gd name="T39" fmla="*/ 69 h 719"/>
              <a:gd name="T40" fmla="*/ 712 w 720"/>
              <a:gd name="T41" fmla="*/ 50 h 719"/>
              <a:gd name="T42" fmla="*/ 644 w 720"/>
              <a:gd name="T43" fmla="*/ 21 h 719"/>
              <a:gd name="T44" fmla="*/ 632 w 720"/>
              <a:gd name="T45" fmla="*/ 0 h 719"/>
              <a:gd name="T46" fmla="*/ 77 w 720"/>
              <a:gd name="T47" fmla="*/ 13 h 719"/>
              <a:gd name="T48" fmla="*/ 12 w 720"/>
              <a:gd name="T49" fmla="*/ 48 h 719"/>
              <a:gd name="T50" fmla="*/ 0 w 720"/>
              <a:gd name="T51" fmla="*/ 66 h 719"/>
              <a:gd name="T52" fmla="*/ 6 w 720"/>
              <a:gd name="T53" fmla="*/ 177 h 719"/>
              <a:gd name="T54" fmla="*/ 29 w 720"/>
              <a:gd name="T55" fmla="*/ 250 h 719"/>
              <a:gd name="T56" fmla="*/ 73 w 720"/>
              <a:gd name="T57" fmla="*/ 302 h 719"/>
              <a:gd name="T58" fmla="*/ 130 w 720"/>
              <a:gd name="T59" fmla="*/ 322 h 719"/>
              <a:gd name="T60" fmla="*/ 195 w 720"/>
              <a:gd name="T61" fmla="*/ 379 h 719"/>
              <a:gd name="T62" fmla="*/ 288 w 720"/>
              <a:gd name="T63" fmla="*/ 441 h 719"/>
              <a:gd name="T64" fmla="*/ 312 w 720"/>
              <a:gd name="T65" fmla="*/ 476 h 719"/>
              <a:gd name="T66" fmla="*/ 316 w 720"/>
              <a:gd name="T67" fmla="*/ 529 h 719"/>
              <a:gd name="T68" fmla="*/ 299 w 720"/>
              <a:gd name="T69" fmla="*/ 596 h 719"/>
              <a:gd name="T70" fmla="*/ 262 w 720"/>
              <a:gd name="T71" fmla="*/ 628 h 719"/>
              <a:gd name="T72" fmla="*/ 204 w 720"/>
              <a:gd name="T73" fmla="*/ 635 h 719"/>
              <a:gd name="T74" fmla="*/ 192 w 720"/>
              <a:gd name="T75" fmla="*/ 707 h 719"/>
              <a:gd name="T76" fmla="*/ 515 w 720"/>
              <a:gd name="T77" fmla="*/ 719 h 719"/>
              <a:gd name="T78" fmla="*/ 527 w 720"/>
              <a:gd name="T79" fmla="*/ 647 h 719"/>
              <a:gd name="T80" fmla="*/ 501 w 720"/>
              <a:gd name="T81" fmla="*/ 635 h 719"/>
              <a:gd name="T82" fmla="*/ 445 w 720"/>
              <a:gd name="T83" fmla="*/ 618 h 719"/>
              <a:gd name="T84" fmla="*/ 412 w 720"/>
              <a:gd name="T85" fmla="*/ 577 h 719"/>
              <a:gd name="T86" fmla="*/ 401 w 720"/>
              <a:gd name="T87" fmla="*/ 511 h 719"/>
              <a:gd name="T88" fmla="*/ 410 w 720"/>
              <a:gd name="T89" fmla="*/ 470 h 719"/>
              <a:gd name="T90" fmla="*/ 443 w 720"/>
              <a:gd name="T91" fmla="*/ 431 h 719"/>
              <a:gd name="T92" fmla="*/ 537 w 720"/>
              <a:gd name="T93" fmla="*/ 367 h 719"/>
              <a:gd name="T94" fmla="*/ 601 w 720"/>
              <a:gd name="T95" fmla="*/ 321 h 719"/>
              <a:gd name="T96" fmla="*/ 653 w 720"/>
              <a:gd name="T97" fmla="*/ 295 h 719"/>
              <a:gd name="T98" fmla="*/ 696 w 720"/>
              <a:gd name="T99" fmla="*/ 233 h 719"/>
              <a:gd name="T100" fmla="*/ 718 w 720"/>
              <a:gd name="T101" fmla="*/ 141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20" h="719">
                <a:moveTo>
                  <a:pt x="645" y="270"/>
                </a:moveTo>
                <a:lnTo>
                  <a:pt x="640" y="276"/>
                </a:lnTo>
                <a:lnTo>
                  <a:pt x="633" y="280"/>
                </a:lnTo>
                <a:lnTo>
                  <a:pt x="627" y="284"/>
                </a:lnTo>
                <a:lnTo>
                  <a:pt x="620" y="289"/>
                </a:lnTo>
                <a:lnTo>
                  <a:pt x="614" y="291"/>
                </a:lnTo>
                <a:lnTo>
                  <a:pt x="606" y="295"/>
                </a:lnTo>
                <a:lnTo>
                  <a:pt x="599" y="296"/>
                </a:lnTo>
                <a:lnTo>
                  <a:pt x="590" y="298"/>
                </a:lnTo>
                <a:lnTo>
                  <a:pt x="600" y="278"/>
                </a:lnTo>
                <a:lnTo>
                  <a:pt x="609" y="257"/>
                </a:lnTo>
                <a:lnTo>
                  <a:pt x="618" y="233"/>
                </a:lnTo>
                <a:lnTo>
                  <a:pt x="625" y="207"/>
                </a:lnTo>
                <a:lnTo>
                  <a:pt x="631" y="177"/>
                </a:lnTo>
                <a:lnTo>
                  <a:pt x="636" y="145"/>
                </a:lnTo>
                <a:lnTo>
                  <a:pt x="639" y="110"/>
                </a:lnTo>
                <a:lnTo>
                  <a:pt x="643" y="72"/>
                </a:lnTo>
                <a:lnTo>
                  <a:pt x="695" y="72"/>
                </a:lnTo>
                <a:lnTo>
                  <a:pt x="695" y="90"/>
                </a:lnTo>
                <a:lnTo>
                  <a:pt x="695" y="114"/>
                </a:lnTo>
                <a:lnTo>
                  <a:pt x="694" y="140"/>
                </a:lnTo>
                <a:lnTo>
                  <a:pt x="690" y="167"/>
                </a:lnTo>
                <a:lnTo>
                  <a:pt x="687" y="182"/>
                </a:lnTo>
                <a:lnTo>
                  <a:pt x="684" y="196"/>
                </a:lnTo>
                <a:lnTo>
                  <a:pt x="680" y="209"/>
                </a:lnTo>
                <a:lnTo>
                  <a:pt x="675" y="223"/>
                </a:lnTo>
                <a:lnTo>
                  <a:pt x="669" y="236"/>
                </a:lnTo>
                <a:lnTo>
                  <a:pt x="662" y="248"/>
                </a:lnTo>
                <a:lnTo>
                  <a:pt x="655" y="259"/>
                </a:lnTo>
                <a:lnTo>
                  <a:pt x="645" y="270"/>
                </a:lnTo>
                <a:lnTo>
                  <a:pt x="645" y="270"/>
                </a:lnTo>
                <a:close/>
                <a:moveTo>
                  <a:pt x="460" y="160"/>
                </a:moveTo>
                <a:lnTo>
                  <a:pt x="402" y="205"/>
                </a:lnTo>
                <a:lnTo>
                  <a:pt x="425" y="273"/>
                </a:lnTo>
                <a:lnTo>
                  <a:pt x="425" y="278"/>
                </a:lnTo>
                <a:lnTo>
                  <a:pt x="424" y="280"/>
                </a:lnTo>
                <a:lnTo>
                  <a:pt x="421" y="282"/>
                </a:lnTo>
                <a:lnTo>
                  <a:pt x="420" y="282"/>
                </a:lnTo>
                <a:lnTo>
                  <a:pt x="418" y="282"/>
                </a:lnTo>
                <a:lnTo>
                  <a:pt x="416" y="280"/>
                </a:lnTo>
                <a:lnTo>
                  <a:pt x="360" y="235"/>
                </a:lnTo>
                <a:lnTo>
                  <a:pt x="304" y="280"/>
                </a:lnTo>
                <a:lnTo>
                  <a:pt x="303" y="282"/>
                </a:lnTo>
                <a:lnTo>
                  <a:pt x="300" y="282"/>
                </a:lnTo>
                <a:lnTo>
                  <a:pt x="298" y="282"/>
                </a:lnTo>
                <a:lnTo>
                  <a:pt x="297" y="280"/>
                </a:lnTo>
                <a:lnTo>
                  <a:pt x="294" y="278"/>
                </a:lnTo>
                <a:lnTo>
                  <a:pt x="294" y="273"/>
                </a:lnTo>
                <a:lnTo>
                  <a:pt x="317" y="205"/>
                </a:lnTo>
                <a:lnTo>
                  <a:pt x="261" y="160"/>
                </a:lnTo>
                <a:lnTo>
                  <a:pt x="259" y="158"/>
                </a:lnTo>
                <a:lnTo>
                  <a:pt x="259" y="154"/>
                </a:lnTo>
                <a:lnTo>
                  <a:pt x="261" y="151"/>
                </a:lnTo>
                <a:lnTo>
                  <a:pt x="264" y="150"/>
                </a:lnTo>
                <a:lnTo>
                  <a:pt x="332" y="150"/>
                </a:lnTo>
                <a:lnTo>
                  <a:pt x="354" y="101"/>
                </a:lnTo>
                <a:lnTo>
                  <a:pt x="356" y="97"/>
                </a:lnTo>
                <a:lnTo>
                  <a:pt x="358" y="97"/>
                </a:lnTo>
                <a:lnTo>
                  <a:pt x="362" y="97"/>
                </a:lnTo>
                <a:lnTo>
                  <a:pt x="364" y="101"/>
                </a:lnTo>
                <a:lnTo>
                  <a:pt x="388" y="150"/>
                </a:lnTo>
                <a:lnTo>
                  <a:pt x="456" y="150"/>
                </a:lnTo>
                <a:lnTo>
                  <a:pt x="460" y="151"/>
                </a:lnTo>
                <a:lnTo>
                  <a:pt x="462" y="154"/>
                </a:lnTo>
                <a:lnTo>
                  <a:pt x="462" y="158"/>
                </a:lnTo>
                <a:lnTo>
                  <a:pt x="460" y="160"/>
                </a:lnTo>
                <a:close/>
                <a:moveTo>
                  <a:pt x="72" y="270"/>
                </a:moveTo>
                <a:lnTo>
                  <a:pt x="63" y="260"/>
                </a:lnTo>
                <a:lnTo>
                  <a:pt x="55" y="248"/>
                </a:lnTo>
                <a:lnTo>
                  <a:pt x="49" y="236"/>
                </a:lnTo>
                <a:lnTo>
                  <a:pt x="43" y="225"/>
                </a:lnTo>
                <a:lnTo>
                  <a:pt x="38" y="211"/>
                </a:lnTo>
                <a:lnTo>
                  <a:pt x="35" y="198"/>
                </a:lnTo>
                <a:lnTo>
                  <a:pt x="31" y="184"/>
                </a:lnTo>
                <a:lnTo>
                  <a:pt x="29" y="170"/>
                </a:lnTo>
                <a:lnTo>
                  <a:pt x="27" y="142"/>
                </a:lnTo>
                <a:lnTo>
                  <a:pt x="24" y="116"/>
                </a:lnTo>
                <a:lnTo>
                  <a:pt x="24" y="92"/>
                </a:lnTo>
                <a:lnTo>
                  <a:pt x="24" y="72"/>
                </a:lnTo>
                <a:lnTo>
                  <a:pt x="24" y="72"/>
                </a:lnTo>
                <a:lnTo>
                  <a:pt x="24" y="72"/>
                </a:lnTo>
                <a:lnTo>
                  <a:pt x="78" y="72"/>
                </a:lnTo>
                <a:lnTo>
                  <a:pt x="80" y="110"/>
                </a:lnTo>
                <a:lnTo>
                  <a:pt x="85" y="145"/>
                </a:lnTo>
                <a:lnTo>
                  <a:pt x="90" y="177"/>
                </a:lnTo>
                <a:lnTo>
                  <a:pt x="96" y="207"/>
                </a:lnTo>
                <a:lnTo>
                  <a:pt x="103" y="233"/>
                </a:lnTo>
                <a:lnTo>
                  <a:pt x="111" y="257"/>
                </a:lnTo>
                <a:lnTo>
                  <a:pt x="119" y="278"/>
                </a:lnTo>
                <a:lnTo>
                  <a:pt x="129" y="298"/>
                </a:lnTo>
                <a:lnTo>
                  <a:pt x="121" y="296"/>
                </a:lnTo>
                <a:lnTo>
                  <a:pt x="112" y="295"/>
                </a:lnTo>
                <a:lnTo>
                  <a:pt x="105" y="291"/>
                </a:lnTo>
                <a:lnTo>
                  <a:pt x="98" y="289"/>
                </a:lnTo>
                <a:lnTo>
                  <a:pt x="91" y="284"/>
                </a:lnTo>
                <a:lnTo>
                  <a:pt x="84" y="280"/>
                </a:lnTo>
                <a:lnTo>
                  <a:pt x="78" y="276"/>
                </a:lnTo>
                <a:lnTo>
                  <a:pt x="72" y="270"/>
                </a:lnTo>
                <a:lnTo>
                  <a:pt x="72" y="270"/>
                </a:lnTo>
                <a:close/>
                <a:moveTo>
                  <a:pt x="719" y="69"/>
                </a:moveTo>
                <a:lnTo>
                  <a:pt x="719" y="64"/>
                </a:lnTo>
                <a:lnTo>
                  <a:pt x="719" y="60"/>
                </a:lnTo>
                <a:lnTo>
                  <a:pt x="719" y="56"/>
                </a:lnTo>
                <a:lnTo>
                  <a:pt x="715" y="52"/>
                </a:lnTo>
                <a:lnTo>
                  <a:pt x="712" y="50"/>
                </a:lnTo>
                <a:lnTo>
                  <a:pt x="707" y="48"/>
                </a:lnTo>
                <a:lnTo>
                  <a:pt x="643" y="48"/>
                </a:lnTo>
                <a:lnTo>
                  <a:pt x="644" y="39"/>
                </a:lnTo>
                <a:lnTo>
                  <a:pt x="644" y="31"/>
                </a:lnTo>
                <a:lnTo>
                  <a:pt x="644" y="21"/>
                </a:lnTo>
                <a:lnTo>
                  <a:pt x="644" y="13"/>
                </a:lnTo>
                <a:lnTo>
                  <a:pt x="643" y="8"/>
                </a:lnTo>
                <a:lnTo>
                  <a:pt x="640" y="3"/>
                </a:lnTo>
                <a:lnTo>
                  <a:pt x="637" y="1"/>
                </a:lnTo>
                <a:lnTo>
                  <a:pt x="632" y="0"/>
                </a:lnTo>
                <a:lnTo>
                  <a:pt x="88" y="0"/>
                </a:lnTo>
                <a:lnTo>
                  <a:pt x="84" y="1"/>
                </a:lnTo>
                <a:lnTo>
                  <a:pt x="80" y="3"/>
                </a:lnTo>
                <a:lnTo>
                  <a:pt x="78" y="8"/>
                </a:lnTo>
                <a:lnTo>
                  <a:pt x="77" y="13"/>
                </a:lnTo>
                <a:lnTo>
                  <a:pt x="77" y="21"/>
                </a:lnTo>
                <a:lnTo>
                  <a:pt x="77" y="31"/>
                </a:lnTo>
                <a:lnTo>
                  <a:pt x="77" y="39"/>
                </a:lnTo>
                <a:lnTo>
                  <a:pt x="77" y="48"/>
                </a:lnTo>
                <a:lnTo>
                  <a:pt x="12" y="48"/>
                </a:lnTo>
                <a:lnTo>
                  <a:pt x="8" y="50"/>
                </a:lnTo>
                <a:lnTo>
                  <a:pt x="4" y="52"/>
                </a:lnTo>
                <a:lnTo>
                  <a:pt x="2" y="56"/>
                </a:lnTo>
                <a:lnTo>
                  <a:pt x="0" y="60"/>
                </a:lnTo>
                <a:lnTo>
                  <a:pt x="0" y="66"/>
                </a:lnTo>
                <a:lnTo>
                  <a:pt x="0" y="72"/>
                </a:lnTo>
                <a:lnTo>
                  <a:pt x="0" y="94"/>
                </a:lnTo>
                <a:lnTo>
                  <a:pt x="0" y="119"/>
                </a:lnTo>
                <a:lnTo>
                  <a:pt x="3" y="147"/>
                </a:lnTo>
                <a:lnTo>
                  <a:pt x="6" y="177"/>
                </a:lnTo>
                <a:lnTo>
                  <a:pt x="9" y="192"/>
                </a:lnTo>
                <a:lnTo>
                  <a:pt x="12" y="207"/>
                </a:lnTo>
                <a:lnTo>
                  <a:pt x="17" y="222"/>
                </a:lnTo>
                <a:lnTo>
                  <a:pt x="22" y="236"/>
                </a:lnTo>
                <a:lnTo>
                  <a:pt x="29" y="250"/>
                </a:lnTo>
                <a:lnTo>
                  <a:pt x="36" y="263"/>
                </a:lnTo>
                <a:lnTo>
                  <a:pt x="44" y="276"/>
                </a:lnTo>
                <a:lnTo>
                  <a:pt x="55" y="286"/>
                </a:lnTo>
                <a:lnTo>
                  <a:pt x="63" y="295"/>
                </a:lnTo>
                <a:lnTo>
                  <a:pt x="73" y="302"/>
                </a:lnTo>
                <a:lnTo>
                  <a:pt x="84" y="308"/>
                </a:lnTo>
                <a:lnTo>
                  <a:pt x="94" y="314"/>
                </a:lnTo>
                <a:lnTo>
                  <a:pt x="106" y="317"/>
                </a:lnTo>
                <a:lnTo>
                  <a:pt x="118" y="321"/>
                </a:lnTo>
                <a:lnTo>
                  <a:pt x="130" y="322"/>
                </a:lnTo>
                <a:lnTo>
                  <a:pt x="143" y="323"/>
                </a:lnTo>
                <a:lnTo>
                  <a:pt x="156" y="340"/>
                </a:lnTo>
                <a:lnTo>
                  <a:pt x="169" y="355"/>
                </a:lnTo>
                <a:lnTo>
                  <a:pt x="182" y="368"/>
                </a:lnTo>
                <a:lnTo>
                  <a:pt x="195" y="379"/>
                </a:lnTo>
                <a:lnTo>
                  <a:pt x="222" y="398"/>
                </a:lnTo>
                <a:lnTo>
                  <a:pt x="248" y="414"/>
                </a:lnTo>
                <a:lnTo>
                  <a:pt x="262" y="423"/>
                </a:lnTo>
                <a:lnTo>
                  <a:pt x="276" y="433"/>
                </a:lnTo>
                <a:lnTo>
                  <a:pt x="288" y="441"/>
                </a:lnTo>
                <a:lnTo>
                  <a:pt x="298" y="452"/>
                </a:lnTo>
                <a:lnTo>
                  <a:pt x="303" y="456"/>
                </a:lnTo>
                <a:lnTo>
                  <a:pt x="306" y="462"/>
                </a:lnTo>
                <a:lnTo>
                  <a:pt x="310" y="470"/>
                </a:lnTo>
                <a:lnTo>
                  <a:pt x="312" y="476"/>
                </a:lnTo>
                <a:lnTo>
                  <a:pt x="314" y="484"/>
                </a:lnTo>
                <a:lnTo>
                  <a:pt x="316" y="492"/>
                </a:lnTo>
                <a:lnTo>
                  <a:pt x="317" y="500"/>
                </a:lnTo>
                <a:lnTo>
                  <a:pt x="317" y="510"/>
                </a:lnTo>
                <a:lnTo>
                  <a:pt x="316" y="529"/>
                </a:lnTo>
                <a:lnTo>
                  <a:pt x="314" y="546"/>
                </a:lnTo>
                <a:lnTo>
                  <a:pt x="312" y="561"/>
                </a:lnTo>
                <a:lnTo>
                  <a:pt x="308" y="574"/>
                </a:lnTo>
                <a:lnTo>
                  <a:pt x="305" y="586"/>
                </a:lnTo>
                <a:lnTo>
                  <a:pt x="299" y="596"/>
                </a:lnTo>
                <a:lnTo>
                  <a:pt x="293" y="605"/>
                </a:lnTo>
                <a:lnTo>
                  <a:pt x="287" y="612"/>
                </a:lnTo>
                <a:lnTo>
                  <a:pt x="279" y="618"/>
                </a:lnTo>
                <a:lnTo>
                  <a:pt x="270" y="623"/>
                </a:lnTo>
                <a:lnTo>
                  <a:pt x="262" y="628"/>
                </a:lnTo>
                <a:lnTo>
                  <a:pt x="251" y="630"/>
                </a:lnTo>
                <a:lnTo>
                  <a:pt x="241" y="633"/>
                </a:lnTo>
                <a:lnTo>
                  <a:pt x="230" y="634"/>
                </a:lnTo>
                <a:lnTo>
                  <a:pt x="217" y="635"/>
                </a:lnTo>
                <a:lnTo>
                  <a:pt x="204" y="635"/>
                </a:lnTo>
                <a:lnTo>
                  <a:pt x="199" y="636"/>
                </a:lnTo>
                <a:lnTo>
                  <a:pt x="195" y="638"/>
                </a:lnTo>
                <a:lnTo>
                  <a:pt x="193" y="642"/>
                </a:lnTo>
                <a:lnTo>
                  <a:pt x="192" y="647"/>
                </a:lnTo>
                <a:lnTo>
                  <a:pt x="192" y="707"/>
                </a:lnTo>
                <a:lnTo>
                  <a:pt x="193" y="711"/>
                </a:lnTo>
                <a:lnTo>
                  <a:pt x="195" y="716"/>
                </a:lnTo>
                <a:lnTo>
                  <a:pt x="199" y="718"/>
                </a:lnTo>
                <a:lnTo>
                  <a:pt x="204" y="719"/>
                </a:lnTo>
                <a:lnTo>
                  <a:pt x="515" y="719"/>
                </a:lnTo>
                <a:lnTo>
                  <a:pt x="520" y="718"/>
                </a:lnTo>
                <a:lnTo>
                  <a:pt x="524" y="716"/>
                </a:lnTo>
                <a:lnTo>
                  <a:pt x="526" y="711"/>
                </a:lnTo>
                <a:lnTo>
                  <a:pt x="527" y="707"/>
                </a:lnTo>
                <a:lnTo>
                  <a:pt x="527" y="647"/>
                </a:lnTo>
                <a:lnTo>
                  <a:pt x="526" y="642"/>
                </a:lnTo>
                <a:lnTo>
                  <a:pt x="524" y="638"/>
                </a:lnTo>
                <a:lnTo>
                  <a:pt x="520" y="636"/>
                </a:lnTo>
                <a:lnTo>
                  <a:pt x="515" y="635"/>
                </a:lnTo>
                <a:lnTo>
                  <a:pt x="501" y="635"/>
                </a:lnTo>
                <a:lnTo>
                  <a:pt x="488" y="634"/>
                </a:lnTo>
                <a:lnTo>
                  <a:pt x="476" y="631"/>
                </a:lnTo>
                <a:lnTo>
                  <a:pt x="464" y="628"/>
                </a:lnTo>
                <a:lnTo>
                  <a:pt x="455" y="623"/>
                </a:lnTo>
                <a:lnTo>
                  <a:pt x="445" y="618"/>
                </a:lnTo>
                <a:lnTo>
                  <a:pt x="437" y="612"/>
                </a:lnTo>
                <a:lnTo>
                  <a:pt x="429" y="605"/>
                </a:lnTo>
                <a:lnTo>
                  <a:pt x="423" y="597"/>
                </a:lnTo>
                <a:lnTo>
                  <a:pt x="417" y="587"/>
                </a:lnTo>
                <a:lnTo>
                  <a:pt x="412" y="577"/>
                </a:lnTo>
                <a:lnTo>
                  <a:pt x="408" y="566"/>
                </a:lnTo>
                <a:lnTo>
                  <a:pt x="405" y="554"/>
                </a:lnTo>
                <a:lnTo>
                  <a:pt x="402" y="541"/>
                </a:lnTo>
                <a:lnTo>
                  <a:pt x="401" y="525"/>
                </a:lnTo>
                <a:lnTo>
                  <a:pt x="401" y="511"/>
                </a:lnTo>
                <a:lnTo>
                  <a:pt x="401" y="500"/>
                </a:lnTo>
                <a:lnTo>
                  <a:pt x="402" y="492"/>
                </a:lnTo>
                <a:lnTo>
                  <a:pt x="404" y="484"/>
                </a:lnTo>
                <a:lnTo>
                  <a:pt x="406" y="476"/>
                </a:lnTo>
                <a:lnTo>
                  <a:pt x="410" y="470"/>
                </a:lnTo>
                <a:lnTo>
                  <a:pt x="412" y="462"/>
                </a:lnTo>
                <a:lnTo>
                  <a:pt x="417" y="456"/>
                </a:lnTo>
                <a:lnTo>
                  <a:pt x="420" y="451"/>
                </a:lnTo>
                <a:lnTo>
                  <a:pt x="431" y="441"/>
                </a:lnTo>
                <a:lnTo>
                  <a:pt x="443" y="431"/>
                </a:lnTo>
                <a:lnTo>
                  <a:pt x="456" y="423"/>
                </a:lnTo>
                <a:lnTo>
                  <a:pt x="471" y="414"/>
                </a:lnTo>
                <a:lnTo>
                  <a:pt x="498" y="398"/>
                </a:lnTo>
                <a:lnTo>
                  <a:pt x="524" y="379"/>
                </a:lnTo>
                <a:lnTo>
                  <a:pt x="537" y="367"/>
                </a:lnTo>
                <a:lnTo>
                  <a:pt x="550" y="354"/>
                </a:lnTo>
                <a:lnTo>
                  <a:pt x="563" y="340"/>
                </a:lnTo>
                <a:lnTo>
                  <a:pt x="575" y="323"/>
                </a:lnTo>
                <a:lnTo>
                  <a:pt x="588" y="322"/>
                </a:lnTo>
                <a:lnTo>
                  <a:pt x="601" y="321"/>
                </a:lnTo>
                <a:lnTo>
                  <a:pt x="612" y="317"/>
                </a:lnTo>
                <a:lnTo>
                  <a:pt x="624" y="314"/>
                </a:lnTo>
                <a:lnTo>
                  <a:pt x="634" y="308"/>
                </a:lnTo>
                <a:lnTo>
                  <a:pt x="644" y="302"/>
                </a:lnTo>
                <a:lnTo>
                  <a:pt x="653" y="295"/>
                </a:lnTo>
                <a:lnTo>
                  <a:pt x="663" y="286"/>
                </a:lnTo>
                <a:lnTo>
                  <a:pt x="672" y="274"/>
                </a:lnTo>
                <a:lnTo>
                  <a:pt x="682" y="261"/>
                </a:lnTo>
                <a:lnTo>
                  <a:pt x="690" y="248"/>
                </a:lnTo>
                <a:lnTo>
                  <a:pt x="696" y="233"/>
                </a:lnTo>
                <a:lnTo>
                  <a:pt x="702" y="219"/>
                </a:lnTo>
                <a:lnTo>
                  <a:pt x="707" y="203"/>
                </a:lnTo>
                <a:lnTo>
                  <a:pt x="711" y="188"/>
                </a:lnTo>
                <a:lnTo>
                  <a:pt x="713" y="171"/>
                </a:lnTo>
                <a:lnTo>
                  <a:pt x="718" y="141"/>
                </a:lnTo>
                <a:lnTo>
                  <a:pt x="719" y="113"/>
                </a:lnTo>
                <a:lnTo>
                  <a:pt x="720" y="88"/>
                </a:lnTo>
                <a:lnTo>
                  <a:pt x="719" y="6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9786733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34">
            <a:extLst>
              <a:ext uri="{FF2B5EF4-FFF2-40B4-BE49-F238E27FC236}">
                <a16:creationId xmlns:a16="http://schemas.microsoft.com/office/drawing/2014/main" id="{0CE1F2E9-5D11-4CF9-96ED-F13E5A880CBA}"/>
              </a:ext>
            </a:extLst>
          </p:cNvPr>
          <p:cNvSpPr/>
          <p:nvPr/>
        </p:nvSpPr>
        <p:spPr>
          <a:xfrm flipV="1">
            <a:off x="-2" y="3554574"/>
            <a:ext cx="12201834" cy="3303426"/>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 name="connsiteX0" fmla="*/ 0 w 3479810"/>
              <a:gd name="connsiteY0" fmla="*/ 0 h 1207779"/>
              <a:gd name="connsiteX1" fmla="*/ 3479810 w 3479810"/>
              <a:gd name="connsiteY1" fmla="*/ 4553 h 1207779"/>
              <a:gd name="connsiteX2" fmla="*/ 3479810 w 3479810"/>
              <a:gd name="connsiteY2" fmla="*/ 1130405 h 1207779"/>
              <a:gd name="connsiteX3" fmla="*/ 2185493 w 3479810"/>
              <a:gd name="connsiteY3" fmla="*/ 775263 h 1207779"/>
              <a:gd name="connsiteX4" fmla="*/ 0 w 3479810"/>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9810" h="1207779">
                <a:moveTo>
                  <a:pt x="0" y="0"/>
                </a:moveTo>
                <a:lnTo>
                  <a:pt x="3479810" y="4553"/>
                </a:lnTo>
                <a:lnTo>
                  <a:pt x="3479810" y="1130405"/>
                </a:lnTo>
                <a:cubicBezTo>
                  <a:pt x="3479511" y="1433772"/>
                  <a:pt x="3448427" y="745115"/>
                  <a:pt x="2185493" y="775263"/>
                </a:cubicBezTo>
                <a:cubicBezTo>
                  <a:pt x="922559" y="805411"/>
                  <a:pt x="59199" y="93304"/>
                  <a:pt x="0" y="0"/>
                </a:cubicBezTo>
                <a:close/>
              </a:path>
            </a:pathLst>
          </a:custGeom>
          <a:gradFill>
            <a:gsLst>
              <a:gs pos="21000">
                <a:schemeClr val="accent1">
                  <a:alpha val="10000"/>
                </a:schemeClr>
              </a:gs>
              <a:gs pos="100000">
                <a:schemeClr val="accent2">
                  <a:alpha val="1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itle 1">
            <a:extLst>
              <a:ext uri="{FF2B5EF4-FFF2-40B4-BE49-F238E27FC236}">
                <a16:creationId xmlns:a16="http://schemas.microsoft.com/office/drawing/2014/main" id="{7A11A548-7F61-4795-AD72-2678C8F9B209}"/>
              </a:ext>
            </a:extLst>
          </p:cNvPr>
          <p:cNvSpPr>
            <a:spLocks noGrp="1"/>
          </p:cNvSpPr>
          <p:nvPr>
            <p:ph type="title"/>
          </p:nvPr>
        </p:nvSpPr>
        <p:spPr>
          <a:xfrm>
            <a:off x="609600" y="365126"/>
            <a:ext cx="10972800" cy="775612"/>
          </a:xfrm>
        </p:spPr>
        <p:txBody>
          <a:bodyPr/>
          <a:lstStyle/>
          <a:p>
            <a:r>
              <a:rPr lang="en-US" dirty="0"/>
              <a:t>Preprocessing Missing Values</a:t>
            </a:r>
          </a:p>
        </p:txBody>
      </p:sp>
      <p:sp>
        <p:nvSpPr>
          <p:cNvPr id="4" name="Slide Number Placeholder 3">
            <a:extLst>
              <a:ext uri="{FF2B5EF4-FFF2-40B4-BE49-F238E27FC236}">
                <a16:creationId xmlns:a16="http://schemas.microsoft.com/office/drawing/2014/main" id="{2D1F42AE-A010-4798-9D6E-0E95ACB644C2}"/>
              </a:ext>
            </a:extLst>
          </p:cNvPr>
          <p:cNvSpPr>
            <a:spLocks noGrp="1"/>
          </p:cNvSpPr>
          <p:nvPr>
            <p:ph type="sldNum" sz="quarter" idx="4"/>
          </p:nvPr>
        </p:nvSpPr>
        <p:spPr/>
        <p:txBody>
          <a:bodyPr/>
          <a:lstStyle/>
          <a:p>
            <a:fld id="{B84D2E29-67F4-44D8-B0E3-F54815B4F123}" type="slidenum">
              <a:rPr lang="en-US" smtClean="0"/>
              <a:pPr/>
              <a:t>13</a:t>
            </a:fld>
            <a:endParaRPr lang="en-US" dirty="0"/>
          </a:p>
        </p:txBody>
      </p:sp>
      <p:cxnSp>
        <p:nvCxnSpPr>
          <p:cNvPr id="25" name="Straight Connector 24">
            <a:extLst>
              <a:ext uri="{FF2B5EF4-FFF2-40B4-BE49-F238E27FC236}">
                <a16:creationId xmlns:a16="http://schemas.microsoft.com/office/drawing/2014/main" id="{EA938F8A-8D1F-4BCD-A96F-9AEB4D2D688F}"/>
              </a:ext>
            </a:extLst>
          </p:cNvPr>
          <p:cNvCxnSpPr/>
          <p:nvPr/>
        </p:nvCxnSpPr>
        <p:spPr>
          <a:xfrm>
            <a:off x="7669161" y="2911417"/>
            <a:ext cx="4532671"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19FBDD5-D57E-40DC-8205-A3C721A13919}"/>
              </a:ext>
            </a:extLst>
          </p:cNvPr>
          <p:cNvCxnSpPr/>
          <p:nvPr/>
        </p:nvCxnSpPr>
        <p:spPr>
          <a:xfrm>
            <a:off x="7669161" y="4557413"/>
            <a:ext cx="4532671"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pic>
        <p:nvPicPr>
          <p:cNvPr id="5" name="Picture 4" descr="A picture containing treemap chart&#10;&#10;Description automatically generated">
            <a:extLst>
              <a:ext uri="{FF2B5EF4-FFF2-40B4-BE49-F238E27FC236}">
                <a16:creationId xmlns:a16="http://schemas.microsoft.com/office/drawing/2014/main" id="{1953336B-C273-458E-B1FD-51CC91B52F7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9596" y="1140738"/>
            <a:ext cx="12435616" cy="6692495"/>
          </a:xfrm>
          <a:prstGeom prst="rect">
            <a:avLst/>
          </a:prstGeom>
        </p:spPr>
      </p:pic>
    </p:spTree>
    <p:extLst>
      <p:ext uri="{BB962C8B-B14F-4D97-AF65-F5344CB8AC3E}">
        <p14:creationId xmlns:p14="http://schemas.microsoft.com/office/powerpoint/2010/main" val="4229505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Freeform: Shape 59">
            <a:extLst>
              <a:ext uri="{FF2B5EF4-FFF2-40B4-BE49-F238E27FC236}">
                <a16:creationId xmlns:a16="http://schemas.microsoft.com/office/drawing/2014/main" id="{2F4964F9-79AB-4BE1-9862-76CE4510D553}"/>
              </a:ext>
            </a:extLst>
          </p:cNvPr>
          <p:cNvSpPr/>
          <p:nvPr/>
        </p:nvSpPr>
        <p:spPr>
          <a:xfrm>
            <a:off x="-3175" y="4988118"/>
            <a:ext cx="10988503" cy="1869882"/>
          </a:xfrm>
          <a:custGeom>
            <a:avLst/>
            <a:gdLst>
              <a:gd name="connsiteX0" fmla="*/ 1310303 w 10988503"/>
              <a:gd name="connsiteY0" fmla="*/ 22 h 1869882"/>
              <a:gd name="connsiteX1" fmla="*/ 6483550 w 10988503"/>
              <a:gd name="connsiteY1" fmla="*/ 1580690 h 1869882"/>
              <a:gd name="connsiteX2" fmla="*/ 10974880 w 10988503"/>
              <a:gd name="connsiteY2" fmla="*/ 1866382 h 1869882"/>
              <a:gd name="connsiteX3" fmla="*/ 10988503 w 10988503"/>
              <a:gd name="connsiteY3" fmla="*/ 1869882 h 1869882"/>
              <a:gd name="connsiteX4" fmla="*/ 0 w 10988503"/>
              <a:gd name="connsiteY4" fmla="*/ 1869882 h 1869882"/>
              <a:gd name="connsiteX5" fmla="*/ 0 w 10988503"/>
              <a:gd name="connsiteY5" fmla="*/ 1794198 h 1869882"/>
              <a:gd name="connsiteX6" fmla="*/ 0 w 10988503"/>
              <a:gd name="connsiteY6" fmla="*/ 334669 h 1869882"/>
              <a:gd name="connsiteX7" fmla="*/ 1310303 w 10988503"/>
              <a:gd name="connsiteY7" fmla="*/ 22 h 186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88503" h="1869882">
                <a:moveTo>
                  <a:pt x="1310303" y="22"/>
                </a:moveTo>
                <a:cubicBezTo>
                  <a:pt x="3087798" y="-7336"/>
                  <a:pt x="4449871" y="1761474"/>
                  <a:pt x="6483550" y="1580690"/>
                </a:cubicBezTo>
                <a:cubicBezTo>
                  <a:pt x="8348226" y="1415442"/>
                  <a:pt x="9844847" y="1591559"/>
                  <a:pt x="10974880" y="1866382"/>
                </a:cubicBezTo>
                <a:lnTo>
                  <a:pt x="10988503" y="1869882"/>
                </a:lnTo>
                <a:lnTo>
                  <a:pt x="0" y="1869882"/>
                </a:lnTo>
                <a:lnTo>
                  <a:pt x="0" y="1794198"/>
                </a:lnTo>
                <a:cubicBezTo>
                  <a:pt x="0" y="1432462"/>
                  <a:pt x="0" y="957720"/>
                  <a:pt x="0" y="334669"/>
                </a:cubicBezTo>
                <a:cubicBezTo>
                  <a:pt x="467797" y="98006"/>
                  <a:pt x="900111" y="1719"/>
                  <a:pt x="1310303" y="22"/>
                </a:cubicBezTo>
                <a:close/>
              </a:path>
            </a:pathLst>
          </a:custGeom>
          <a:gradFill>
            <a:gsLst>
              <a:gs pos="0">
                <a:srgbClr val="393762"/>
              </a:gs>
              <a:gs pos="50000">
                <a:srgbClr val="C779D0"/>
              </a:gs>
              <a:gs pos="100000">
                <a:srgbClr val="E4859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a:extLst>
              <a:ext uri="{FF2B5EF4-FFF2-40B4-BE49-F238E27FC236}">
                <a16:creationId xmlns:a16="http://schemas.microsoft.com/office/drawing/2014/main" id="{5C67D406-5165-4360-8C1C-324029DCCE25}"/>
              </a:ext>
            </a:extLst>
          </p:cNvPr>
          <p:cNvSpPr txBox="1"/>
          <p:nvPr/>
        </p:nvSpPr>
        <p:spPr>
          <a:xfrm>
            <a:off x="266700" y="337269"/>
            <a:ext cx="11658600" cy="553998"/>
          </a:xfrm>
          <a:prstGeom prst="rect">
            <a:avLst/>
          </a:prstGeom>
          <a:noFill/>
        </p:spPr>
        <p:txBody>
          <a:bodyPr wrap="square" lIns="0" tIns="0" rIns="0" bIns="0" rtlCol="0" anchor="t">
            <a:spAutoFit/>
          </a:bodyPr>
          <a:lstStyle/>
          <a:p>
            <a:pPr algn="ctr"/>
            <a:r>
              <a:rPr lang="en-US" sz="3600" dirty="0">
                <a:solidFill>
                  <a:schemeClr val="tx1">
                    <a:lumMod val="75000"/>
                    <a:lumOff val="25000"/>
                  </a:schemeClr>
                </a:solidFill>
                <a:latin typeface="+mj-lt"/>
                <a:ea typeface="Segoe UI Black" panose="020B0A02040204020203" pitchFamily="34" charset="0"/>
                <a:cs typeface="Segoe UI" panose="020B0502040204020203" pitchFamily="34" charset="0"/>
              </a:rPr>
              <a:t>Imbalanced Target</a:t>
            </a:r>
          </a:p>
        </p:txBody>
      </p:sp>
      <p:sp>
        <p:nvSpPr>
          <p:cNvPr id="51" name="Date Placeholder 50">
            <a:extLst>
              <a:ext uri="{FF2B5EF4-FFF2-40B4-BE49-F238E27FC236}">
                <a16:creationId xmlns:a16="http://schemas.microsoft.com/office/drawing/2014/main" id="{7503AC9C-2A15-4763-9BD1-8EE7F5EB1B56}"/>
              </a:ext>
            </a:extLst>
          </p:cNvPr>
          <p:cNvSpPr>
            <a:spLocks noGrp="1"/>
          </p:cNvSpPr>
          <p:nvPr>
            <p:ph type="dt" sz="half" idx="10"/>
          </p:nvPr>
        </p:nvSpPr>
        <p:spPr/>
        <p:txBody>
          <a:bodyPr/>
          <a:lstStyle/>
          <a:p>
            <a:fld id="{581601AE-D121-467F-9CAE-E6980EB143C1}" type="datetime1">
              <a:rPr lang="en-US" smtClean="0">
                <a:solidFill>
                  <a:schemeClr val="tx1"/>
                </a:solidFill>
              </a:rPr>
              <a:t>3/25/2021</a:t>
            </a:fld>
            <a:endParaRPr lang="en-US">
              <a:solidFill>
                <a:schemeClr val="tx1"/>
              </a:solidFill>
            </a:endParaRPr>
          </a:p>
        </p:txBody>
      </p:sp>
      <p:sp>
        <p:nvSpPr>
          <p:cNvPr id="52" name="Slide Number Placeholder 51">
            <a:extLst>
              <a:ext uri="{FF2B5EF4-FFF2-40B4-BE49-F238E27FC236}">
                <a16:creationId xmlns:a16="http://schemas.microsoft.com/office/drawing/2014/main" id="{0E138C45-4489-4E6D-BF08-27D313165EAD}"/>
              </a:ext>
            </a:extLst>
          </p:cNvPr>
          <p:cNvSpPr>
            <a:spLocks noGrp="1"/>
          </p:cNvSpPr>
          <p:nvPr>
            <p:ph type="sldNum" sz="quarter" idx="12"/>
          </p:nvPr>
        </p:nvSpPr>
        <p:spPr/>
        <p:txBody>
          <a:bodyPr/>
          <a:lstStyle/>
          <a:p>
            <a:fld id="{2B5E5E57-0193-45F1-AA6D-ABE38BBADBB1}" type="slidenum">
              <a:rPr lang="en-US" smtClean="0">
                <a:solidFill>
                  <a:schemeClr val="tx1"/>
                </a:solidFill>
              </a:rPr>
              <a:t>14</a:t>
            </a:fld>
            <a:endParaRPr lang="en-US">
              <a:solidFill>
                <a:schemeClr val="tx1"/>
              </a:solidFill>
            </a:endParaRPr>
          </a:p>
        </p:txBody>
      </p:sp>
      <p:sp>
        <p:nvSpPr>
          <p:cNvPr id="68" name="Freeform 122">
            <a:extLst>
              <a:ext uri="{FF2B5EF4-FFF2-40B4-BE49-F238E27FC236}">
                <a16:creationId xmlns:a16="http://schemas.microsoft.com/office/drawing/2014/main" id="{5A8B61EE-E905-4A04-86AB-E8905B71042E}"/>
              </a:ext>
            </a:extLst>
          </p:cNvPr>
          <p:cNvSpPr>
            <a:spLocks noEditPoints="1"/>
          </p:cNvSpPr>
          <p:nvPr/>
        </p:nvSpPr>
        <p:spPr bwMode="auto">
          <a:xfrm>
            <a:off x="677937" y="1738119"/>
            <a:ext cx="287338" cy="263525"/>
          </a:xfrm>
          <a:custGeom>
            <a:avLst/>
            <a:gdLst>
              <a:gd name="T0" fmla="*/ 376 w 907"/>
              <a:gd name="T1" fmla="*/ 508 h 827"/>
              <a:gd name="T2" fmla="*/ 866 w 907"/>
              <a:gd name="T3" fmla="*/ 58 h 827"/>
              <a:gd name="T4" fmla="*/ 366 w 907"/>
              <a:gd name="T5" fmla="*/ 758 h 827"/>
              <a:gd name="T6" fmla="*/ 466 w 907"/>
              <a:gd name="T7" fmla="*/ 590 h 827"/>
              <a:gd name="T8" fmla="*/ 819 w 907"/>
              <a:gd name="T9" fmla="*/ 61 h 827"/>
              <a:gd name="T10" fmla="*/ 55 w 907"/>
              <a:gd name="T11" fmla="*/ 375 h 827"/>
              <a:gd name="T12" fmla="*/ 907 w 907"/>
              <a:gd name="T13" fmla="*/ 15 h 827"/>
              <a:gd name="T14" fmla="*/ 906 w 907"/>
              <a:gd name="T15" fmla="*/ 12 h 827"/>
              <a:gd name="T16" fmla="*/ 906 w 907"/>
              <a:gd name="T17" fmla="*/ 11 h 827"/>
              <a:gd name="T18" fmla="*/ 905 w 907"/>
              <a:gd name="T19" fmla="*/ 8 h 827"/>
              <a:gd name="T20" fmla="*/ 905 w 907"/>
              <a:gd name="T21" fmla="*/ 6 h 827"/>
              <a:gd name="T22" fmla="*/ 904 w 907"/>
              <a:gd name="T23" fmla="*/ 5 h 827"/>
              <a:gd name="T24" fmla="*/ 902 w 907"/>
              <a:gd name="T25" fmla="*/ 3 h 827"/>
              <a:gd name="T26" fmla="*/ 900 w 907"/>
              <a:gd name="T27" fmla="*/ 2 h 827"/>
              <a:gd name="T28" fmla="*/ 900 w 907"/>
              <a:gd name="T29" fmla="*/ 2 h 827"/>
              <a:gd name="T30" fmla="*/ 897 w 907"/>
              <a:gd name="T31" fmla="*/ 1 h 827"/>
              <a:gd name="T32" fmla="*/ 895 w 907"/>
              <a:gd name="T33" fmla="*/ 0 h 827"/>
              <a:gd name="T34" fmla="*/ 893 w 907"/>
              <a:gd name="T35" fmla="*/ 0 h 827"/>
              <a:gd name="T36" fmla="*/ 891 w 907"/>
              <a:gd name="T37" fmla="*/ 0 h 827"/>
              <a:gd name="T38" fmla="*/ 887 w 907"/>
              <a:gd name="T39" fmla="*/ 1 h 827"/>
              <a:gd name="T40" fmla="*/ 886 w 907"/>
              <a:gd name="T41" fmla="*/ 1 h 827"/>
              <a:gd name="T42" fmla="*/ 886 w 907"/>
              <a:gd name="T43" fmla="*/ 1 h 827"/>
              <a:gd name="T44" fmla="*/ 5 w 907"/>
              <a:gd name="T45" fmla="*/ 365 h 827"/>
              <a:gd name="T46" fmla="*/ 1 w 907"/>
              <a:gd name="T47" fmla="*/ 372 h 827"/>
              <a:gd name="T48" fmla="*/ 1 w 907"/>
              <a:gd name="T49" fmla="*/ 381 h 827"/>
              <a:gd name="T50" fmla="*/ 5 w 907"/>
              <a:gd name="T51" fmla="*/ 388 h 827"/>
              <a:gd name="T52" fmla="*/ 336 w 907"/>
              <a:gd name="T53" fmla="*/ 521 h 827"/>
              <a:gd name="T54" fmla="*/ 336 w 907"/>
              <a:gd name="T55" fmla="*/ 817 h 827"/>
              <a:gd name="T56" fmla="*/ 342 w 907"/>
              <a:gd name="T57" fmla="*/ 825 h 827"/>
              <a:gd name="T58" fmla="*/ 348 w 907"/>
              <a:gd name="T59" fmla="*/ 827 h 827"/>
              <a:gd name="T60" fmla="*/ 354 w 907"/>
              <a:gd name="T61" fmla="*/ 827 h 827"/>
              <a:gd name="T62" fmla="*/ 360 w 907"/>
              <a:gd name="T63" fmla="*/ 823 h 827"/>
              <a:gd name="T64" fmla="*/ 492 w 907"/>
              <a:gd name="T65" fmla="*/ 605 h 827"/>
              <a:gd name="T66" fmla="*/ 732 w 907"/>
              <a:gd name="T67" fmla="*/ 732 h 827"/>
              <a:gd name="T68" fmla="*/ 739 w 907"/>
              <a:gd name="T69" fmla="*/ 732 h 827"/>
              <a:gd name="T70" fmla="*/ 745 w 907"/>
              <a:gd name="T71" fmla="*/ 729 h 827"/>
              <a:gd name="T72" fmla="*/ 749 w 907"/>
              <a:gd name="T73" fmla="*/ 724 h 827"/>
              <a:gd name="T74" fmla="*/ 906 w 907"/>
              <a:gd name="T75" fmla="*/ 18 h 827"/>
              <a:gd name="T76" fmla="*/ 906 w 907"/>
              <a:gd name="T77" fmla="*/ 17 h 827"/>
              <a:gd name="T78" fmla="*/ 907 w 907"/>
              <a:gd name="T79" fmla="*/ 15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07" h="827">
                <a:moveTo>
                  <a:pt x="726" y="695"/>
                </a:moveTo>
                <a:lnTo>
                  <a:pt x="376" y="508"/>
                </a:lnTo>
                <a:lnTo>
                  <a:pt x="834" y="88"/>
                </a:lnTo>
                <a:lnTo>
                  <a:pt x="866" y="58"/>
                </a:lnTo>
                <a:lnTo>
                  <a:pt x="726" y="695"/>
                </a:lnTo>
                <a:close/>
                <a:moveTo>
                  <a:pt x="366" y="758"/>
                </a:moveTo>
                <a:lnTo>
                  <a:pt x="366" y="536"/>
                </a:lnTo>
                <a:lnTo>
                  <a:pt x="466" y="590"/>
                </a:lnTo>
                <a:lnTo>
                  <a:pt x="366" y="758"/>
                </a:lnTo>
                <a:close/>
                <a:moveTo>
                  <a:pt x="819" y="61"/>
                </a:moveTo>
                <a:lnTo>
                  <a:pt x="347" y="493"/>
                </a:lnTo>
                <a:lnTo>
                  <a:pt x="55" y="375"/>
                </a:lnTo>
                <a:lnTo>
                  <a:pt x="819" y="61"/>
                </a:lnTo>
                <a:close/>
                <a:moveTo>
                  <a:pt x="907" y="15"/>
                </a:moveTo>
                <a:lnTo>
                  <a:pt x="907" y="14"/>
                </a:lnTo>
                <a:lnTo>
                  <a:pt x="906" y="12"/>
                </a:lnTo>
                <a:lnTo>
                  <a:pt x="906" y="12"/>
                </a:lnTo>
                <a:lnTo>
                  <a:pt x="906" y="11"/>
                </a:lnTo>
                <a:lnTo>
                  <a:pt x="905" y="9"/>
                </a:lnTo>
                <a:lnTo>
                  <a:pt x="905" y="8"/>
                </a:lnTo>
                <a:lnTo>
                  <a:pt x="905" y="8"/>
                </a:lnTo>
                <a:lnTo>
                  <a:pt x="905" y="6"/>
                </a:lnTo>
                <a:lnTo>
                  <a:pt x="904" y="6"/>
                </a:lnTo>
                <a:lnTo>
                  <a:pt x="904" y="5"/>
                </a:lnTo>
                <a:lnTo>
                  <a:pt x="903" y="4"/>
                </a:lnTo>
                <a:lnTo>
                  <a:pt x="902" y="3"/>
                </a:lnTo>
                <a:lnTo>
                  <a:pt x="901" y="3"/>
                </a:lnTo>
                <a:lnTo>
                  <a:pt x="900" y="2"/>
                </a:lnTo>
                <a:lnTo>
                  <a:pt x="900" y="2"/>
                </a:lnTo>
                <a:lnTo>
                  <a:pt x="900" y="2"/>
                </a:lnTo>
                <a:lnTo>
                  <a:pt x="898" y="1"/>
                </a:lnTo>
                <a:lnTo>
                  <a:pt x="897" y="1"/>
                </a:lnTo>
                <a:lnTo>
                  <a:pt x="896" y="1"/>
                </a:lnTo>
                <a:lnTo>
                  <a:pt x="895" y="0"/>
                </a:lnTo>
                <a:lnTo>
                  <a:pt x="894" y="0"/>
                </a:lnTo>
                <a:lnTo>
                  <a:pt x="893" y="0"/>
                </a:lnTo>
                <a:lnTo>
                  <a:pt x="892" y="0"/>
                </a:lnTo>
                <a:lnTo>
                  <a:pt x="891" y="0"/>
                </a:lnTo>
                <a:lnTo>
                  <a:pt x="889" y="0"/>
                </a:lnTo>
                <a:lnTo>
                  <a:pt x="887" y="1"/>
                </a:lnTo>
                <a:lnTo>
                  <a:pt x="887" y="1"/>
                </a:lnTo>
                <a:lnTo>
                  <a:pt x="886" y="1"/>
                </a:lnTo>
                <a:lnTo>
                  <a:pt x="886" y="1"/>
                </a:lnTo>
                <a:lnTo>
                  <a:pt x="886" y="1"/>
                </a:lnTo>
                <a:lnTo>
                  <a:pt x="10" y="362"/>
                </a:lnTo>
                <a:lnTo>
                  <a:pt x="5" y="365"/>
                </a:lnTo>
                <a:lnTo>
                  <a:pt x="2" y="368"/>
                </a:lnTo>
                <a:lnTo>
                  <a:pt x="1" y="372"/>
                </a:lnTo>
                <a:lnTo>
                  <a:pt x="0" y="376"/>
                </a:lnTo>
                <a:lnTo>
                  <a:pt x="1" y="381"/>
                </a:lnTo>
                <a:lnTo>
                  <a:pt x="2" y="384"/>
                </a:lnTo>
                <a:lnTo>
                  <a:pt x="5" y="388"/>
                </a:lnTo>
                <a:lnTo>
                  <a:pt x="10" y="390"/>
                </a:lnTo>
                <a:lnTo>
                  <a:pt x="336" y="521"/>
                </a:lnTo>
                <a:lnTo>
                  <a:pt x="336" y="812"/>
                </a:lnTo>
                <a:lnTo>
                  <a:pt x="336" y="817"/>
                </a:lnTo>
                <a:lnTo>
                  <a:pt x="338" y="821"/>
                </a:lnTo>
                <a:lnTo>
                  <a:pt x="342" y="825"/>
                </a:lnTo>
                <a:lnTo>
                  <a:pt x="346" y="827"/>
                </a:lnTo>
                <a:lnTo>
                  <a:pt x="348" y="827"/>
                </a:lnTo>
                <a:lnTo>
                  <a:pt x="351" y="827"/>
                </a:lnTo>
                <a:lnTo>
                  <a:pt x="354" y="827"/>
                </a:lnTo>
                <a:lnTo>
                  <a:pt x="357" y="826"/>
                </a:lnTo>
                <a:lnTo>
                  <a:pt x="360" y="823"/>
                </a:lnTo>
                <a:lnTo>
                  <a:pt x="363" y="820"/>
                </a:lnTo>
                <a:lnTo>
                  <a:pt x="492" y="605"/>
                </a:lnTo>
                <a:lnTo>
                  <a:pt x="729" y="730"/>
                </a:lnTo>
                <a:lnTo>
                  <a:pt x="732" y="732"/>
                </a:lnTo>
                <a:lnTo>
                  <a:pt x="736" y="732"/>
                </a:lnTo>
                <a:lnTo>
                  <a:pt x="739" y="732"/>
                </a:lnTo>
                <a:lnTo>
                  <a:pt x="742" y="731"/>
                </a:lnTo>
                <a:lnTo>
                  <a:pt x="745" y="729"/>
                </a:lnTo>
                <a:lnTo>
                  <a:pt x="747" y="727"/>
                </a:lnTo>
                <a:lnTo>
                  <a:pt x="749" y="724"/>
                </a:lnTo>
                <a:lnTo>
                  <a:pt x="751" y="721"/>
                </a:lnTo>
                <a:lnTo>
                  <a:pt x="906" y="18"/>
                </a:lnTo>
                <a:lnTo>
                  <a:pt x="906" y="17"/>
                </a:lnTo>
                <a:lnTo>
                  <a:pt x="906" y="17"/>
                </a:lnTo>
                <a:lnTo>
                  <a:pt x="907" y="16"/>
                </a:lnTo>
                <a:lnTo>
                  <a:pt x="907" y="15"/>
                </a:lnTo>
                <a:close/>
              </a:path>
            </a:pathLst>
          </a:custGeom>
          <a:solidFill>
            <a:schemeClr val="bg1"/>
          </a:solidFill>
          <a:ln>
            <a:noFill/>
          </a:ln>
          <a:effectLst>
            <a:outerShdw blurRad="50800" dist="38100" dir="5400000" algn="t"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a:p>
        </p:txBody>
      </p:sp>
      <p:grpSp>
        <p:nvGrpSpPr>
          <p:cNvPr id="69" name="Group 68">
            <a:extLst>
              <a:ext uri="{FF2B5EF4-FFF2-40B4-BE49-F238E27FC236}">
                <a16:creationId xmlns:a16="http://schemas.microsoft.com/office/drawing/2014/main" id="{39D2748B-A6BE-4159-A5A8-6EC820DCA0B5}"/>
              </a:ext>
            </a:extLst>
          </p:cNvPr>
          <p:cNvGrpSpPr/>
          <p:nvPr/>
        </p:nvGrpSpPr>
        <p:grpSpPr>
          <a:xfrm>
            <a:off x="711275" y="4143357"/>
            <a:ext cx="220663" cy="287338"/>
            <a:chOff x="11066463" y="1360488"/>
            <a:chExt cx="220663" cy="287338"/>
          </a:xfrm>
          <a:solidFill>
            <a:schemeClr val="bg1"/>
          </a:solidFill>
          <a:effectLst>
            <a:outerShdw blurRad="50800" dist="38100" dir="5400000" algn="t" rotWithShape="0">
              <a:prstClr val="black">
                <a:alpha val="20000"/>
              </a:prstClr>
            </a:outerShdw>
          </a:effectLst>
        </p:grpSpPr>
        <p:sp>
          <p:nvSpPr>
            <p:cNvPr id="70" name="Freeform 180">
              <a:extLst>
                <a:ext uri="{FF2B5EF4-FFF2-40B4-BE49-F238E27FC236}">
                  <a16:creationId xmlns:a16="http://schemas.microsoft.com/office/drawing/2014/main" id="{A29AD480-0776-46B3-97B5-2BD5C090C2FD}"/>
                </a:ext>
              </a:extLst>
            </p:cNvPr>
            <p:cNvSpPr>
              <a:spLocks noEditPoints="1"/>
            </p:cNvSpPr>
            <p:nvPr/>
          </p:nvSpPr>
          <p:spPr bwMode="auto">
            <a:xfrm>
              <a:off x="11066463" y="1360488"/>
              <a:ext cx="220663" cy="287338"/>
            </a:xfrm>
            <a:custGeom>
              <a:avLst/>
              <a:gdLst>
                <a:gd name="T0" fmla="*/ 30 w 691"/>
                <a:gd name="T1" fmla="*/ 871 h 901"/>
                <a:gd name="T2" fmla="*/ 30 w 691"/>
                <a:gd name="T3" fmla="*/ 30 h 901"/>
                <a:gd name="T4" fmla="*/ 421 w 691"/>
                <a:gd name="T5" fmla="*/ 30 h 901"/>
                <a:gd name="T6" fmla="*/ 421 w 691"/>
                <a:gd name="T7" fmla="*/ 254 h 901"/>
                <a:gd name="T8" fmla="*/ 421 w 691"/>
                <a:gd name="T9" fmla="*/ 258 h 901"/>
                <a:gd name="T10" fmla="*/ 422 w 691"/>
                <a:gd name="T11" fmla="*/ 261 h 901"/>
                <a:gd name="T12" fmla="*/ 423 w 691"/>
                <a:gd name="T13" fmla="*/ 263 h 901"/>
                <a:gd name="T14" fmla="*/ 425 w 691"/>
                <a:gd name="T15" fmla="*/ 265 h 901"/>
                <a:gd name="T16" fmla="*/ 427 w 691"/>
                <a:gd name="T17" fmla="*/ 267 h 901"/>
                <a:gd name="T18" fmla="*/ 429 w 691"/>
                <a:gd name="T19" fmla="*/ 268 h 901"/>
                <a:gd name="T20" fmla="*/ 432 w 691"/>
                <a:gd name="T21" fmla="*/ 269 h 901"/>
                <a:gd name="T22" fmla="*/ 436 w 691"/>
                <a:gd name="T23" fmla="*/ 269 h 901"/>
                <a:gd name="T24" fmla="*/ 660 w 691"/>
                <a:gd name="T25" fmla="*/ 269 h 901"/>
                <a:gd name="T26" fmla="*/ 660 w 691"/>
                <a:gd name="T27" fmla="*/ 871 h 901"/>
                <a:gd name="T28" fmla="*/ 30 w 691"/>
                <a:gd name="T29" fmla="*/ 871 h 901"/>
                <a:gd name="T30" fmla="*/ 450 w 691"/>
                <a:gd name="T31" fmla="*/ 52 h 901"/>
                <a:gd name="T32" fmla="*/ 640 w 691"/>
                <a:gd name="T33" fmla="*/ 239 h 901"/>
                <a:gd name="T34" fmla="*/ 450 w 691"/>
                <a:gd name="T35" fmla="*/ 239 h 901"/>
                <a:gd name="T36" fmla="*/ 450 w 691"/>
                <a:gd name="T37" fmla="*/ 52 h 901"/>
                <a:gd name="T38" fmla="*/ 686 w 691"/>
                <a:gd name="T39" fmla="*/ 244 h 901"/>
                <a:gd name="T40" fmla="*/ 446 w 691"/>
                <a:gd name="T41" fmla="*/ 4 h 901"/>
                <a:gd name="T42" fmla="*/ 444 w 691"/>
                <a:gd name="T43" fmla="*/ 2 h 901"/>
                <a:gd name="T44" fmla="*/ 441 w 691"/>
                <a:gd name="T45" fmla="*/ 1 h 901"/>
                <a:gd name="T46" fmla="*/ 439 w 691"/>
                <a:gd name="T47" fmla="*/ 0 h 901"/>
                <a:gd name="T48" fmla="*/ 436 w 691"/>
                <a:gd name="T49" fmla="*/ 0 h 901"/>
                <a:gd name="T50" fmla="*/ 15 w 691"/>
                <a:gd name="T51" fmla="*/ 0 h 901"/>
                <a:gd name="T52" fmla="*/ 12 w 691"/>
                <a:gd name="T53" fmla="*/ 0 h 901"/>
                <a:gd name="T54" fmla="*/ 9 w 691"/>
                <a:gd name="T55" fmla="*/ 1 h 901"/>
                <a:gd name="T56" fmla="*/ 6 w 691"/>
                <a:gd name="T57" fmla="*/ 2 h 901"/>
                <a:gd name="T58" fmla="*/ 4 w 691"/>
                <a:gd name="T59" fmla="*/ 4 h 901"/>
                <a:gd name="T60" fmla="*/ 2 w 691"/>
                <a:gd name="T61" fmla="*/ 6 h 901"/>
                <a:gd name="T62" fmla="*/ 1 w 691"/>
                <a:gd name="T63" fmla="*/ 9 h 901"/>
                <a:gd name="T64" fmla="*/ 0 w 691"/>
                <a:gd name="T65" fmla="*/ 11 h 901"/>
                <a:gd name="T66" fmla="*/ 0 w 691"/>
                <a:gd name="T67" fmla="*/ 15 h 901"/>
                <a:gd name="T68" fmla="*/ 0 w 691"/>
                <a:gd name="T69" fmla="*/ 886 h 901"/>
                <a:gd name="T70" fmla="*/ 0 w 691"/>
                <a:gd name="T71" fmla="*/ 889 h 901"/>
                <a:gd name="T72" fmla="*/ 1 w 691"/>
                <a:gd name="T73" fmla="*/ 891 h 901"/>
                <a:gd name="T74" fmla="*/ 2 w 691"/>
                <a:gd name="T75" fmla="*/ 894 h 901"/>
                <a:gd name="T76" fmla="*/ 4 w 691"/>
                <a:gd name="T77" fmla="*/ 897 h 901"/>
                <a:gd name="T78" fmla="*/ 6 w 691"/>
                <a:gd name="T79" fmla="*/ 898 h 901"/>
                <a:gd name="T80" fmla="*/ 9 w 691"/>
                <a:gd name="T81" fmla="*/ 900 h 901"/>
                <a:gd name="T82" fmla="*/ 12 w 691"/>
                <a:gd name="T83" fmla="*/ 900 h 901"/>
                <a:gd name="T84" fmla="*/ 15 w 691"/>
                <a:gd name="T85" fmla="*/ 901 h 901"/>
                <a:gd name="T86" fmla="*/ 676 w 691"/>
                <a:gd name="T87" fmla="*/ 901 h 901"/>
                <a:gd name="T88" fmla="*/ 678 w 691"/>
                <a:gd name="T89" fmla="*/ 900 h 901"/>
                <a:gd name="T90" fmla="*/ 682 w 691"/>
                <a:gd name="T91" fmla="*/ 900 h 901"/>
                <a:gd name="T92" fmla="*/ 684 w 691"/>
                <a:gd name="T93" fmla="*/ 898 h 901"/>
                <a:gd name="T94" fmla="*/ 686 w 691"/>
                <a:gd name="T95" fmla="*/ 897 h 901"/>
                <a:gd name="T96" fmla="*/ 688 w 691"/>
                <a:gd name="T97" fmla="*/ 894 h 901"/>
                <a:gd name="T98" fmla="*/ 689 w 691"/>
                <a:gd name="T99" fmla="*/ 891 h 901"/>
                <a:gd name="T100" fmla="*/ 690 w 691"/>
                <a:gd name="T101" fmla="*/ 889 h 901"/>
                <a:gd name="T102" fmla="*/ 691 w 691"/>
                <a:gd name="T103" fmla="*/ 886 h 901"/>
                <a:gd name="T104" fmla="*/ 691 w 691"/>
                <a:gd name="T105" fmla="*/ 254 h 901"/>
                <a:gd name="T106" fmla="*/ 689 w 691"/>
                <a:gd name="T107" fmla="*/ 249 h 901"/>
                <a:gd name="T108" fmla="*/ 686 w 691"/>
                <a:gd name="T109" fmla="*/ 244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91" h="901">
                  <a:moveTo>
                    <a:pt x="30" y="871"/>
                  </a:moveTo>
                  <a:lnTo>
                    <a:pt x="30" y="30"/>
                  </a:lnTo>
                  <a:lnTo>
                    <a:pt x="421" y="30"/>
                  </a:lnTo>
                  <a:lnTo>
                    <a:pt x="421" y="254"/>
                  </a:lnTo>
                  <a:lnTo>
                    <a:pt x="421" y="258"/>
                  </a:lnTo>
                  <a:lnTo>
                    <a:pt x="422" y="261"/>
                  </a:lnTo>
                  <a:lnTo>
                    <a:pt x="423" y="263"/>
                  </a:lnTo>
                  <a:lnTo>
                    <a:pt x="425" y="265"/>
                  </a:lnTo>
                  <a:lnTo>
                    <a:pt x="427" y="267"/>
                  </a:lnTo>
                  <a:lnTo>
                    <a:pt x="429" y="268"/>
                  </a:lnTo>
                  <a:lnTo>
                    <a:pt x="432" y="269"/>
                  </a:lnTo>
                  <a:lnTo>
                    <a:pt x="436" y="269"/>
                  </a:lnTo>
                  <a:lnTo>
                    <a:pt x="660" y="269"/>
                  </a:lnTo>
                  <a:lnTo>
                    <a:pt x="660" y="871"/>
                  </a:lnTo>
                  <a:lnTo>
                    <a:pt x="30" y="871"/>
                  </a:lnTo>
                  <a:close/>
                  <a:moveTo>
                    <a:pt x="450" y="52"/>
                  </a:moveTo>
                  <a:lnTo>
                    <a:pt x="640" y="239"/>
                  </a:lnTo>
                  <a:lnTo>
                    <a:pt x="450" y="239"/>
                  </a:lnTo>
                  <a:lnTo>
                    <a:pt x="450" y="52"/>
                  </a:lnTo>
                  <a:close/>
                  <a:moveTo>
                    <a:pt x="686" y="244"/>
                  </a:moveTo>
                  <a:lnTo>
                    <a:pt x="446" y="4"/>
                  </a:lnTo>
                  <a:lnTo>
                    <a:pt x="444" y="2"/>
                  </a:lnTo>
                  <a:lnTo>
                    <a:pt x="441" y="1"/>
                  </a:lnTo>
                  <a:lnTo>
                    <a:pt x="439" y="0"/>
                  </a:lnTo>
                  <a:lnTo>
                    <a:pt x="436" y="0"/>
                  </a:lnTo>
                  <a:lnTo>
                    <a:pt x="15" y="0"/>
                  </a:lnTo>
                  <a:lnTo>
                    <a:pt x="12" y="0"/>
                  </a:lnTo>
                  <a:lnTo>
                    <a:pt x="9" y="1"/>
                  </a:lnTo>
                  <a:lnTo>
                    <a:pt x="6" y="2"/>
                  </a:lnTo>
                  <a:lnTo>
                    <a:pt x="4" y="4"/>
                  </a:lnTo>
                  <a:lnTo>
                    <a:pt x="2" y="6"/>
                  </a:lnTo>
                  <a:lnTo>
                    <a:pt x="1" y="9"/>
                  </a:lnTo>
                  <a:lnTo>
                    <a:pt x="0" y="11"/>
                  </a:lnTo>
                  <a:lnTo>
                    <a:pt x="0" y="15"/>
                  </a:lnTo>
                  <a:lnTo>
                    <a:pt x="0" y="886"/>
                  </a:lnTo>
                  <a:lnTo>
                    <a:pt x="0" y="889"/>
                  </a:lnTo>
                  <a:lnTo>
                    <a:pt x="1" y="891"/>
                  </a:lnTo>
                  <a:lnTo>
                    <a:pt x="2" y="894"/>
                  </a:lnTo>
                  <a:lnTo>
                    <a:pt x="4" y="897"/>
                  </a:lnTo>
                  <a:lnTo>
                    <a:pt x="6" y="898"/>
                  </a:lnTo>
                  <a:lnTo>
                    <a:pt x="9" y="900"/>
                  </a:lnTo>
                  <a:lnTo>
                    <a:pt x="12" y="900"/>
                  </a:lnTo>
                  <a:lnTo>
                    <a:pt x="15" y="901"/>
                  </a:lnTo>
                  <a:lnTo>
                    <a:pt x="676" y="901"/>
                  </a:lnTo>
                  <a:lnTo>
                    <a:pt x="678" y="900"/>
                  </a:lnTo>
                  <a:lnTo>
                    <a:pt x="682" y="900"/>
                  </a:lnTo>
                  <a:lnTo>
                    <a:pt x="684" y="898"/>
                  </a:lnTo>
                  <a:lnTo>
                    <a:pt x="686" y="897"/>
                  </a:lnTo>
                  <a:lnTo>
                    <a:pt x="688" y="894"/>
                  </a:lnTo>
                  <a:lnTo>
                    <a:pt x="689" y="891"/>
                  </a:lnTo>
                  <a:lnTo>
                    <a:pt x="690" y="889"/>
                  </a:lnTo>
                  <a:lnTo>
                    <a:pt x="691" y="886"/>
                  </a:lnTo>
                  <a:lnTo>
                    <a:pt x="691" y="254"/>
                  </a:lnTo>
                  <a:lnTo>
                    <a:pt x="689" y="249"/>
                  </a:lnTo>
                  <a:lnTo>
                    <a:pt x="686" y="2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81">
              <a:extLst>
                <a:ext uri="{FF2B5EF4-FFF2-40B4-BE49-F238E27FC236}">
                  <a16:creationId xmlns:a16="http://schemas.microsoft.com/office/drawing/2014/main" id="{DEECE333-C409-4CEA-9FE2-44E0B5325545}"/>
                </a:ext>
              </a:extLst>
            </p:cNvPr>
            <p:cNvSpPr>
              <a:spLocks/>
            </p:cNvSpPr>
            <p:nvPr/>
          </p:nvSpPr>
          <p:spPr bwMode="auto">
            <a:xfrm>
              <a:off x="11180763" y="1474788"/>
              <a:ext cx="57150" cy="9525"/>
            </a:xfrm>
            <a:custGeom>
              <a:avLst/>
              <a:gdLst>
                <a:gd name="T0" fmla="*/ 167 w 182"/>
                <a:gd name="T1" fmla="*/ 0 h 31"/>
                <a:gd name="T2" fmla="*/ 15 w 182"/>
                <a:gd name="T3" fmla="*/ 0 h 31"/>
                <a:gd name="T4" fmla="*/ 13 w 182"/>
                <a:gd name="T5" fmla="*/ 1 h 31"/>
                <a:gd name="T6" fmla="*/ 10 w 182"/>
                <a:gd name="T7" fmla="*/ 2 h 31"/>
                <a:gd name="T8" fmla="*/ 8 w 182"/>
                <a:gd name="T9" fmla="*/ 3 h 31"/>
                <a:gd name="T10" fmla="*/ 5 w 182"/>
                <a:gd name="T11" fmla="*/ 6 h 31"/>
                <a:gd name="T12" fmla="*/ 4 w 182"/>
                <a:gd name="T13" fmla="*/ 8 h 31"/>
                <a:gd name="T14" fmla="*/ 1 w 182"/>
                <a:gd name="T15" fmla="*/ 10 h 31"/>
                <a:gd name="T16" fmla="*/ 1 w 182"/>
                <a:gd name="T17" fmla="*/ 13 h 31"/>
                <a:gd name="T18" fmla="*/ 0 w 182"/>
                <a:gd name="T19" fmla="*/ 15 h 31"/>
                <a:gd name="T20" fmla="*/ 1 w 182"/>
                <a:gd name="T21" fmla="*/ 20 h 31"/>
                <a:gd name="T22" fmla="*/ 1 w 182"/>
                <a:gd name="T23" fmla="*/ 22 h 31"/>
                <a:gd name="T24" fmla="*/ 4 w 182"/>
                <a:gd name="T25" fmla="*/ 25 h 31"/>
                <a:gd name="T26" fmla="*/ 5 w 182"/>
                <a:gd name="T27" fmla="*/ 27 h 31"/>
                <a:gd name="T28" fmla="*/ 8 w 182"/>
                <a:gd name="T29" fmla="*/ 28 h 31"/>
                <a:gd name="T30" fmla="*/ 10 w 182"/>
                <a:gd name="T31" fmla="*/ 30 h 31"/>
                <a:gd name="T32" fmla="*/ 13 w 182"/>
                <a:gd name="T33" fmla="*/ 30 h 31"/>
                <a:gd name="T34" fmla="*/ 15 w 182"/>
                <a:gd name="T35" fmla="*/ 31 h 31"/>
                <a:gd name="T36" fmla="*/ 167 w 182"/>
                <a:gd name="T37" fmla="*/ 31 h 31"/>
                <a:gd name="T38" fmla="*/ 171 w 182"/>
                <a:gd name="T39" fmla="*/ 30 h 31"/>
                <a:gd name="T40" fmla="*/ 173 w 182"/>
                <a:gd name="T41" fmla="*/ 30 h 31"/>
                <a:gd name="T42" fmla="*/ 176 w 182"/>
                <a:gd name="T43" fmla="*/ 28 h 31"/>
                <a:gd name="T44" fmla="*/ 178 w 182"/>
                <a:gd name="T45" fmla="*/ 27 h 31"/>
                <a:gd name="T46" fmla="*/ 180 w 182"/>
                <a:gd name="T47" fmla="*/ 25 h 31"/>
                <a:gd name="T48" fmla="*/ 181 w 182"/>
                <a:gd name="T49" fmla="*/ 22 h 31"/>
                <a:gd name="T50" fmla="*/ 182 w 182"/>
                <a:gd name="T51" fmla="*/ 20 h 31"/>
                <a:gd name="T52" fmla="*/ 182 w 182"/>
                <a:gd name="T53" fmla="*/ 15 h 31"/>
                <a:gd name="T54" fmla="*/ 182 w 182"/>
                <a:gd name="T55" fmla="*/ 13 h 31"/>
                <a:gd name="T56" fmla="*/ 181 w 182"/>
                <a:gd name="T57" fmla="*/ 10 h 31"/>
                <a:gd name="T58" fmla="*/ 180 w 182"/>
                <a:gd name="T59" fmla="*/ 8 h 31"/>
                <a:gd name="T60" fmla="*/ 178 w 182"/>
                <a:gd name="T61" fmla="*/ 6 h 31"/>
                <a:gd name="T62" fmla="*/ 176 w 182"/>
                <a:gd name="T63" fmla="*/ 3 h 31"/>
                <a:gd name="T64" fmla="*/ 173 w 182"/>
                <a:gd name="T65" fmla="*/ 2 h 31"/>
                <a:gd name="T66" fmla="*/ 171 w 182"/>
                <a:gd name="T67" fmla="*/ 1 h 31"/>
                <a:gd name="T68" fmla="*/ 167 w 182"/>
                <a:gd name="T6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31">
                  <a:moveTo>
                    <a:pt x="167" y="0"/>
                  </a:moveTo>
                  <a:lnTo>
                    <a:pt x="15" y="0"/>
                  </a:lnTo>
                  <a:lnTo>
                    <a:pt x="13" y="1"/>
                  </a:lnTo>
                  <a:lnTo>
                    <a:pt x="10" y="2"/>
                  </a:lnTo>
                  <a:lnTo>
                    <a:pt x="8" y="3"/>
                  </a:lnTo>
                  <a:lnTo>
                    <a:pt x="5" y="6"/>
                  </a:lnTo>
                  <a:lnTo>
                    <a:pt x="4" y="8"/>
                  </a:lnTo>
                  <a:lnTo>
                    <a:pt x="1" y="10"/>
                  </a:lnTo>
                  <a:lnTo>
                    <a:pt x="1" y="13"/>
                  </a:lnTo>
                  <a:lnTo>
                    <a:pt x="0" y="15"/>
                  </a:lnTo>
                  <a:lnTo>
                    <a:pt x="1" y="20"/>
                  </a:lnTo>
                  <a:lnTo>
                    <a:pt x="1" y="22"/>
                  </a:lnTo>
                  <a:lnTo>
                    <a:pt x="4" y="25"/>
                  </a:lnTo>
                  <a:lnTo>
                    <a:pt x="5" y="27"/>
                  </a:lnTo>
                  <a:lnTo>
                    <a:pt x="8" y="28"/>
                  </a:lnTo>
                  <a:lnTo>
                    <a:pt x="10" y="30"/>
                  </a:lnTo>
                  <a:lnTo>
                    <a:pt x="13" y="30"/>
                  </a:lnTo>
                  <a:lnTo>
                    <a:pt x="15" y="31"/>
                  </a:lnTo>
                  <a:lnTo>
                    <a:pt x="167" y="31"/>
                  </a:lnTo>
                  <a:lnTo>
                    <a:pt x="171" y="30"/>
                  </a:lnTo>
                  <a:lnTo>
                    <a:pt x="173" y="30"/>
                  </a:lnTo>
                  <a:lnTo>
                    <a:pt x="176" y="28"/>
                  </a:lnTo>
                  <a:lnTo>
                    <a:pt x="178" y="27"/>
                  </a:lnTo>
                  <a:lnTo>
                    <a:pt x="180" y="25"/>
                  </a:lnTo>
                  <a:lnTo>
                    <a:pt x="181" y="22"/>
                  </a:lnTo>
                  <a:lnTo>
                    <a:pt x="182" y="20"/>
                  </a:lnTo>
                  <a:lnTo>
                    <a:pt x="182" y="15"/>
                  </a:lnTo>
                  <a:lnTo>
                    <a:pt x="182" y="13"/>
                  </a:lnTo>
                  <a:lnTo>
                    <a:pt x="181" y="10"/>
                  </a:lnTo>
                  <a:lnTo>
                    <a:pt x="180" y="8"/>
                  </a:lnTo>
                  <a:lnTo>
                    <a:pt x="178" y="6"/>
                  </a:lnTo>
                  <a:lnTo>
                    <a:pt x="176" y="3"/>
                  </a:lnTo>
                  <a:lnTo>
                    <a:pt x="173" y="2"/>
                  </a:lnTo>
                  <a:lnTo>
                    <a:pt x="171" y="1"/>
                  </a:lnTo>
                  <a:lnTo>
                    <a:pt x="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182">
              <a:extLst>
                <a:ext uri="{FF2B5EF4-FFF2-40B4-BE49-F238E27FC236}">
                  <a16:creationId xmlns:a16="http://schemas.microsoft.com/office/drawing/2014/main" id="{6A62211F-2337-474E-98A3-F13ADD55CA73}"/>
                </a:ext>
              </a:extLst>
            </p:cNvPr>
            <p:cNvSpPr>
              <a:spLocks/>
            </p:cNvSpPr>
            <p:nvPr/>
          </p:nvSpPr>
          <p:spPr bwMode="auto">
            <a:xfrm>
              <a:off x="11180763" y="1522413"/>
              <a:ext cx="57150" cy="9525"/>
            </a:xfrm>
            <a:custGeom>
              <a:avLst/>
              <a:gdLst>
                <a:gd name="T0" fmla="*/ 167 w 182"/>
                <a:gd name="T1" fmla="*/ 0 h 30"/>
                <a:gd name="T2" fmla="*/ 15 w 182"/>
                <a:gd name="T3" fmla="*/ 0 h 30"/>
                <a:gd name="T4" fmla="*/ 13 w 182"/>
                <a:gd name="T5" fmla="*/ 0 h 30"/>
                <a:gd name="T6" fmla="*/ 10 w 182"/>
                <a:gd name="T7" fmla="*/ 1 h 30"/>
                <a:gd name="T8" fmla="*/ 8 w 182"/>
                <a:gd name="T9" fmla="*/ 2 h 30"/>
                <a:gd name="T10" fmla="*/ 5 w 182"/>
                <a:gd name="T11" fmla="*/ 4 h 30"/>
                <a:gd name="T12" fmla="*/ 4 w 182"/>
                <a:gd name="T13" fmla="*/ 7 h 30"/>
                <a:gd name="T14" fmla="*/ 1 w 182"/>
                <a:gd name="T15" fmla="*/ 10 h 30"/>
                <a:gd name="T16" fmla="*/ 1 w 182"/>
                <a:gd name="T17" fmla="*/ 12 h 30"/>
                <a:gd name="T18" fmla="*/ 0 w 182"/>
                <a:gd name="T19" fmla="*/ 15 h 30"/>
                <a:gd name="T20" fmla="*/ 1 w 182"/>
                <a:gd name="T21" fmla="*/ 18 h 30"/>
                <a:gd name="T22" fmla="*/ 1 w 182"/>
                <a:gd name="T23" fmla="*/ 22 h 30"/>
                <a:gd name="T24" fmla="*/ 4 w 182"/>
                <a:gd name="T25" fmla="*/ 24 h 30"/>
                <a:gd name="T26" fmla="*/ 5 w 182"/>
                <a:gd name="T27" fmla="*/ 26 h 30"/>
                <a:gd name="T28" fmla="*/ 8 w 182"/>
                <a:gd name="T29" fmla="*/ 28 h 30"/>
                <a:gd name="T30" fmla="*/ 10 w 182"/>
                <a:gd name="T31" fmla="*/ 29 h 30"/>
                <a:gd name="T32" fmla="*/ 13 w 182"/>
                <a:gd name="T33" fmla="*/ 30 h 30"/>
                <a:gd name="T34" fmla="*/ 15 w 182"/>
                <a:gd name="T35" fmla="*/ 30 h 30"/>
                <a:gd name="T36" fmla="*/ 167 w 182"/>
                <a:gd name="T37" fmla="*/ 30 h 30"/>
                <a:gd name="T38" fmla="*/ 171 w 182"/>
                <a:gd name="T39" fmla="*/ 30 h 30"/>
                <a:gd name="T40" fmla="*/ 173 w 182"/>
                <a:gd name="T41" fmla="*/ 29 h 30"/>
                <a:gd name="T42" fmla="*/ 176 w 182"/>
                <a:gd name="T43" fmla="*/ 28 h 30"/>
                <a:gd name="T44" fmla="*/ 178 w 182"/>
                <a:gd name="T45" fmla="*/ 26 h 30"/>
                <a:gd name="T46" fmla="*/ 180 w 182"/>
                <a:gd name="T47" fmla="*/ 24 h 30"/>
                <a:gd name="T48" fmla="*/ 181 w 182"/>
                <a:gd name="T49" fmla="*/ 22 h 30"/>
                <a:gd name="T50" fmla="*/ 182 w 182"/>
                <a:gd name="T51" fmla="*/ 18 h 30"/>
                <a:gd name="T52" fmla="*/ 182 w 182"/>
                <a:gd name="T53" fmla="*/ 15 h 30"/>
                <a:gd name="T54" fmla="*/ 182 w 182"/>
                <a:gd name="T55" fmla="*/ 12 h 30"/>
                <a:gd name="T56" fmla="*/ 181 w 182"/>
                <a:gd name="T57" fmla="*/ 10 h 30"/>
                <a:gd name="T58" fmla="*/ 180 w 182"/>
                <a:gd name="T59" fmla="*/ 7 h 30"/>
                <a:gd name="T60" fmla="*/ 178 w 182"/>
                <a:gd name="T61" fmla="*/ 4 h 30"/>
                <a:gd name="T62" fmla="*/ 176 w 182"/>
                <a:gd name="T63" fmla="*/ 2 h 30"/>
                <a:gd name="T64" fmla="*/ 173 w 182"/>
                <a:gd name="T65" fmla="*/ 1 h 30"/>
                <a:gd name="T66" fmla="*/ 171 w 182"/>
                <a:gd name="T67" fmla="*/ 0 h 30"/>
                <a:gd name="T68" fmla="*/ 167 w 182"/>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30">
                  <a:moveTo>
                    <a:pt x="167" y="0"/>
                  </a:moveTo>
                  <a:lnTo>
                    <a:pt x="15" y="0"/>
                  </a:lnTo>
                  <a:lnTo>
                    <a:pt x="13" y="0"/>
                  </a:lnTo>
                  <a:lnTo>
                    <a:pt x="10" y="1"/>
                  </a:lnTo>
                  <a:lnTo>
                    <a:pt x="8" y="2"/>
                  </a:lnTo>
                  <a:lnTo>
                    <a:pt x="5" y="4"/>
                  </a:lnTo>
                  <a:lnTo>
                    <a:pt x="4" y="7"/>
                  </a:lnTo>
                  <a:lnTo>
                    <a:pt x="1" y="10"/>
                  </a:lnTo>
                  <a:lnTo>
                    <a:pt x="1" y="12"/>
                  </a:lnTo>
                  <a:lnTo>
                    <a:pt x="0" y="15"/>
                  </a:lnTo>
                  <a:lnTo>
                    <a:pt x="1" y="18"/>
                  </a:lnTo>
                  <a:lnTo>
                    <a:pt x="1" y="22"/>
                  </a:lnTo>
                  <a:lnTo>
                    <a:pt x="4" y="24"/>
                  </a:lnTo>
                  <a:lnTo>
                    <a:pt x="5" y="26"/>
                  </a:lnTo>
                  <a:lnTo>
                    <a:pt x="8" y="28"/>
                  </a:lnTo>
                  <a:lnTo>
                    <a:pt x="10" y="29"/>
                  </a:lnTo>
                  <a:lnTo>
                    <a:pt x="13" y="30"/>
                  </a:lnTo>
                  <a:lnTo>
                    <a:pt x="15" y="30"/>
                  </a:lnTo>
                  <a:lnTo>
                    <a:pt x="167" y="30"/>
                  </a:lnTo>
                  <a:lnTo>
                    <a:pt x="171" y="30"/>
                  </a:lnTo>
                  <a:lnTo>
                    <a:pt x="173" y="29"/>
                  </a:lnTo>
                  <a:lnTo>
                    <a:pt x="176" y="28"/>
                  </a:lnTo>
                  <a:lnTo>
                    <a:pt x="178" y="26"/>
                  </a:lnTo>
                  <a:lnTo>
                    <a:pt x="180" y="24"/>
                  </a:lnTo>
                  <a:lnTo>
                    <a:pt x="181" y="22"/>
                  </a:lnTo>
                  <a:lnTo>
                    <a:pt x="182" y="18"/>
                  </a:lnTo>
                  <a:lnTo>
                    <a:pt x="182" y="15"/>
                  </a:lnTo>
                  <a:lnTo>
                    <a:pt x="182" y="12"/>
                  </a:lnTo>
                  <a:lnTo>
                    <a:pt x="181" y="10"/>
                  </a:lnTo>
                  <a:lnTo>
                    <a:pt x="180" y="7"/>
                  </a:lnTo>
                  <a:lnTo>
                    <a:pt x="178" y="4"/>
                  </a:lnTo>
                  <a:lnTo>
                    <a:pt x="176" y="2"/>
                  </a:lnTo>
                  <a:lnTo>
                    <a:pt x="173" y="1"/>
                  </a:lnTo>
                  <a:lnTo>
                    <a:pt x="171" y="0"/>
                  </a:lnTo>
                  <a:lnTo>
                    <a:pt x="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83">
              <a:extLst>
                <a:ext uri="{FF2B5EF4-FFF2-40B4-BE49-F238E27FC236}">
                  <a16:creationId xmlns:a16="http://schemas.microsoft.com/office/drawing/2014/main" id="{67F3AA76-2022-4F93-8B47-5535D2B84DD5}"/>
                </a:ext>
              </a:extLst>
            </p:cNvPr>
            <p:cNvSpPr>
              <a:spLocks/>
            </p:cNvSpPr>
            <p:nvPr/>
          </p:nvSpPr>
          <p:spPr bwMode="auto">
            <a:xfrm>
              <a:off x="11180763" y="1579563"/>
              <a:ext cx="57150" cy="9525"/>
            </a:xfrm>
            <a:custGeom>
              <a:avLst/>
              <a:gdLst>
                <a:gd name="T0" fmla="*/ 167 w 182"/>
                <a:gd name="T1" fmla="*/ 0 h 30"/>
                <a:gd name="T2" fmla="*/ 15 w 182"/>
                <a:gd name="T3" fmla="*/ 0 h 30"/>
                <a:gd name="T4" fmla="*/ 13 w 182"/>
                <a:gd name="T5" fmla="*/ 1 h 30"/>
                <a:gd name="T6" fmla="*/ 10 w 182"/>
                <a:gd name="T7" fmla="*/ 1 h 30"/>
                <a:gd name="T8" fmla="*/ 8 w 182"/>
                <a:gd name="T9" fmla="*/ 3 h 30"/>
                <a:gd name="T10" fmla="*/ 5 w 182"/>
                <a:gd name="T11" fmla="*/ 5 h 30"/>
                <a:gd name="T12" fmla="*/ 4 w 182"/>
                <a:gd name="T13" fmla="*/ 7 h 30"/>
                <a:gd name="T14" fmla="*/ 1 w 182"/>
                <a:gd name="T15" fmla="*/ 10 h 30"/>
                <a:gd name="T16" fmla="*/ 1 w 182"/>
                <a:gd name="T17" fmla="*/ 13 h 30"/>
                <a:gd name="T18" fmla="*/ 0 w 182"/>
                <a:gd name="T19" fmla="*/ 15 h 30"/>
                <a:gd name="T20" fmla="*/ 1 w 182"/>
                <a:gd name="T21" fmla="*/ 18 h 30"/>
                <a:gd name="T22" fmla="*/ 1 w 182"/>
                <a:gd name="T23" fmla="*/ 21 h 30"/>
                <a:gd name="T24" fmla="*/ 4 w 182"/>
                <a:gd name="T25" fmla="*/ 24 h 30"/>
                <a:gd name="T26" fmla="*/ 5 w 182"/>
                <a:gd name="T27" fmla="*/ 26 h 30"/>
                <a:gd name="T28" fmla="*/ 8 w 182"/>
                <a:gd name="T29" fmla="*/ 28 h 30"/>
                <a:gd name="T30" fmla="*/ 10 w 182"/>
                <a:gd name="T31" fmla="*/ 29 h 30"/>
                <a:gd name="T32" fmla="*/ 13 w 182"/>
                <a:gd name="T33" fmla="*/ 30 h 30"/>
                <a:gd name="T34" fmla="*/ 15 w 182"/>
                <a:gd name="T35" fmla="*/ 30 h 30"/>
                <a:gd name="T36" fmla="*/ 167 w 182"/>
                <a:gd name="T37" fmla="*/ 30 h 30"/>
                <a:gd name="T38" fmla="*/ 171 w 182"/>
                <a:gd name="T39" fmla="*/ 30 h 30"/>
                <a:gd name="T40" fmla="*/ 173 w 182"/>
                <a:gd name="T41" fmla="*/ 29 h 30"/>
                <a:gd name="T42" fmla="*/ 176 w 182"/>
                <a:gd name="T43" fmla="*/ 28 h 30"/>
                <a:gd name="T44" fmla="*/ 178 w 182"/>
                <a:gd name="T45" fmla="*/ 26 h 30"/>
                <a:gd name="T46" fmla="*/ 180 w 182"/>
                <a:gd name="T47" fmla="*/ 24 h 30"/>
                <a:gd name="T48" fmla="*/ 181 w 182"/>
                <a:gd name="T49" fmla="*/ 21 h 30"/>
                <a:gd name="T50" fmla="*/ 182 w 182"/>
                <a:gd name="T51" fmla="*/ 18 h 30"/>
                <a:gd name="T52" fmla="*/ 182 w 182"/>
                <a:gd name="T53" fmla="*/ 15 h 30"/>
                <a:gd name="T54" fmla="*/ 182 w 182"/>
                <a:gd name="T55" fmla="*/ 13 h 30"/>
                <a:gd name="T56" fmla="*/ 181 w 182"/>
                <a:gd name="T57" fmla="*/ 10 h 30"/>
                <a:gd name="T58" fmla="*/ 180 w 182"/>
                <a:gd name="T59" fmla="*/ 7 h 30"/>
                <a:gd name="T60" fmla="*/ 178 w 182"/>
                <a:gd name="T61" fmla="*/ 5 h 30"/>
                <a:gd name="T62" fmla="*/ 176 w 182"/>
                <a:gd name="T63" fmla="*/ 3 h 30"/>
                <a:gd name="T64" fmla="*/ 173 w 182"/>
                <a:gd name="T65" fmla="*/ 1 h 30"/>
                <a:gd name="T66" fmla="*/ 171 w 182"/>
                <a:gd name="T67" fmla="*/ 1 h 30"/>
                <a:gd name="T68" fmla="*/ 167 w 182"/>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30">
                  <a:moveTo>
                    <a:pt x="167" y="0"/>
                  </a:moveTo>
                  <a:lnTo>
                    <a:pt x="15" y="0"/>
                  </a:lnTo>
                  <a:lnTo>
                    <a:pt x="13" y="1"/>
                  </a:lnTo>
                  <a:lnTo>
                    <a:pt x="10" y="1"/>
                  </a:lnTo>
                  <a:lnTo>
                    <a:pt x="8" y="3"/>
                  </a:lnTo>
                  <a:lnTo>
                    <a:pt x="5" y="5"/>
                  </a:lnTo>
                  <a:lnTo>
                    <a:pt x="4" y="7"/>
                  </a:lnTo>
                  <a:lnTo>
                    <a:pt x="1" y="10"/>
                  </a:lnTo>
                  <a:lnTo>
                    <a:pt x="1" y="13"/>
                  </a:lnTo>
                  <a:lnTo>
                    <a:pt x="0" y="15"/>
                  </a:lnTo>
                  <a:lnTo>
                    <a:pt x="1" y="18"/>
                  </a:lnTo>
                  <a:lnTo>
                    <a:pt x="1" y="21"/>
                  </a:lnTo>
                  <a:lnTo>
                    <a:pt x="4" y="24"/>
                  </a:lnTo>
                  <a:lnTo>
                    <a:pt x="5" y="26"/>
                  </a:lnTo>
                  <a:lnTo>
                    <a:pt x="8" y="28"/>
                  </a:lnTo>
                  <a:lnTo>
                    <a:pt x="10" y="29"/>
                  </a:lnTo>
                  <a:lnTo>
                    <a:pt x="13" y="30"/>
                  </a:lnTo>
                  <a:lnTo>
                    <a:pt x="15" y="30"/>
                  </a:lnTo>
                  <a:lnTo>
                    <a:pt x="167" y="30"/>
                  </a:lnTo>
                  <a:lnTo>
                    <a:pt x="171" y="30"/>
                  </a:lnTo>
                  <a:lnTo>
                    <a:pt x="173" y="29"/>
                  </a:lnTo>
                  <a:lnTo>
                    <a:pt x="176" y="28"/>
                  </a:lnTo>
                  <a:lnTo>
                    <a:pt x="178" y="26"/>
                  </a:lnTo>
                  <a:lnTo>
                    <a:pt x="180" y="24"/>
                  </a:lnTo>
                  <a:lnTo>
                    <a:pt x="181" y="21"/>
                  </a:lnTo>
                  <a:lnTo>
                    <a:pt x="182" y="18"/>
                  </a:lnTo>
                  <a:lnTo>
                    <a:pt x="182" y="15"/>
                  </a:lnTo>
                  <a:lnTo>
                    <a:pt x="182" y="13"/>
                  </a:lnTo>
                  <a:lnTo>
                    <a:pt x="181" y="10"/>
                  </a:lnTo>
                  <a:lnTo>
                    <a:pt x="180" y="7"/>
                  </a:lnTo>
                  <a:lnTo>
                    <a:pt x="178" y="5"/>
                  </a:lnTo>
                  <a:lnTo>
                    <a:pt x="176" y="3"/>
                  </a:lnTo>
                  <a:lnTo>
                    <a:pt x="173" y="1"/>
                  </a:lnTo>
                  <a:lnTo>
                    <a:pt x="171" y="1"/>
                  </a:lnTo>
                  <a:lnTo>
                    <a:pt x="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184">
              <a:extLst>
                <a:ext uri="{FF2B5EF4-FFF2-40B4-BE49-F238E27FC236}">
                  <a16:creationId xmlns:a16="http://schemas.microsoft.com/office/drawing/2014/main" id="{74AD6DF0-E832-4776-B855-368878BB6D59}"/>
                </a:ext>
              </a:extLst>
            </p:cNvPr>
            <p:cNvSpPr>
              <a:spLocks/>
            </p:cNvSpPr>
            <p:nvPr/>
          </p:nvSpPr>
          <p:spPr bwMode="auto">
            <a:xfrm>
              <a:off x="11109325" y="1450976"/>
              <a:ext cx="57150" cy="39688"/>
            </a:xfrm>
            <a:custGeom>
              <a:avLst/>
              <a:gdLst>
                <a:gd name="T0" fmla="*/ 156 w 181"/>
                <a:gd name="T1" fmla="*/ 4 h 126"/>
                <a:gd name="T2" fmla="*/ 71 w 181"/>
                <a:gd name="T3" fmla="*/ 88 h 126"/>
                <a:gd name="T4" fmla="*/ 25 w 181"/>
                <a:gd name="T5" fmla="*/ 43 h 126"/>
                <a:gd name="T6" fmla="*/ 23 w 181"/>
                <a:gd name="T7" fmla="*/ 41 h 126"/>
                <a:gd name="T8" fmla="*/ 20 w 181"/>
                <a:gd name="T9" fmla="*/ 39 h 126"/>
                <a:gd name="T10" fmla="*/ 18 w 181"/>
                <a:gd name="T11" fmla="*/ 39 h 126"/>
                <a:gd name="T12" fmla="*/ 15 w 181"/>
                <a:gd name="T13" fmla="*/ 38 h 126"/>
                <a:gd name="T14" fmla="*/ 11 w 181"/>
                <a:gd name="T15" fmla="*/ 39 h 126"/>
                <a:gd name="T16" fmla="*/ 9 w 181"/>
                <a:gd name="T17" fmla="*/ 39 h 126"/>
                <a:gd name="T18" fmla="*/ 6 w 181"/>
                <a:gd name="T19" fmla="*/ 41 h 126"/>
                <a:gd name="T20" fmla="*/ 4 w 181"/>
                <a:gd name="T21" fmla="*/ 43 h 126"/>
                <a:gd name="T22" fmla="*/ 2 w 181"/>
                <a:gd name="T23" fmla="*/ 45 h 126"/>
                <a:gd name="T24" fmla="*/ 1 w 181"/>
                <a:gd name="T25" fmla="*/ 47 h 126"/>
                <a:gd name="T26" fmla="*/ 0 w 181"/>
                <a:gd name="T27" fmla="*/ 51 h 126"/>
                <a:gd name="T28" fmla="*/ 0 w 181"/>
                <a:gd name="T29" fmla="*/ 53 h 126"/>
                <a:gd name="T30" fmla="*/ 0 w 181"/>
                <a:gd name="T31" fmla="*/ 56 h 126"/>
                <a:gd name="T32" fmla="*/ 1 w 181"/>
                <a:gd name="T33" fmla="*/ 59 h 126"/>
                <a:gd name="T34" fmla="*/ 2 w 181"/>
                <a:gd name="T35" fmla="*/ 61 h 126"/>
                <a:gd name="T36" fmla="*/ 4 w 181"/>
                <a:gd name="T37" fmla="*/ 63 h 126"/>
                <a:gd name="T38" fmla="*/ 61 w 181"/>
                <a:gd name="T39" fmla="*/ 121 h 126"/>
                <a:gd name="T40" fmla="*/ 63 w 181"/>
                <a:gd name="T41" fmla="*/ 122 h 126"/>
                <a:gd name="T42" fmla="*/ 66 w 181"/>
                <a:gd name="T43" fmla="*/ 124 h 126"/>
                <a:gd name="T44" fmla="*/ 68 w 181"/>
                <a:gd name="T45" fmla="*/ 126 h 126"/>
                <a:gd name="T46" fmla="*/ 71 w 181"/>
                <a:gd name="T47" fmla="*/ 126 h 126"/>
                <a:gd name="T48" fmla="*/ 74 w 181"/>
                <a:gd name="T49" fmla="*/ 126 h 126"/>
                <a:gd name="T50" fmla="*/ 77 w 181"/>
                <a:gd name="T51" fmla="*/ 124 h 126"/>
                <a:gd name="T52" fmla="*/ 80 w 181"/>
                <a:gd name="T53" fmla="*/ 122 h 126"/>
                <a:gd name="T54" fmla="*/ 82 w 181"/>
                <a:gd name="T55" fmla="*/ 121 h 126"/>
                <a:gd name="T56" fmla="*/ 176 w 181"/>
                <a:gd name="T57" fmla="*/ 26 h 126"/>
                <a:gd name="T58" fmla="*/ 178 w 181"/>
                <a:gd name="T59" fmla="*/ 24 h 126"/>
                <a:gd name="T60" fmla="*/ 180 w 181"/>
                <a:gd name="T61" fmla="*/ 21 h 126"/>
                <a:gd name="T62" fmla="*/ 180 w 181"/>
                <a:gd name="T63" fmla="*/ 17 h 126"/>
                <a:gd name="T64" fmla="*/ 181 w 181"/>
                <a:gd name="T65" fmla="*/ 15 h 126"/>
                <a:gd name="T66" fmla="*/ 180 w 181"/>
                <a:gd name="T67" fmla="*/ 12 h 126"/>
                <a:gd name="T68" fmla="*/ 180 w 181"/>
                <a:gd name="T69" fmla="*/ 9 h 126"/>
                <a:gd name="T70" fmla="*/ 178 w 181"/>
                <a:gd name="T71" fmla="*/ 6 h 126"/>
                <a:gd name="T72" fmla="*/ 176 w 181"/>
                <a:gd name="T73" fmla="*/ 4 h 126"/>
                <a:gd name="T74" fmla="*/ 172 w 181"/>
                <a:gd name="T75" fmla="*/ 1 h 126"/>
                <a:gd name="T76" fmla="*/ 166 w 181"/>
                <a:gd name="T77" fmla="*/ 0 h 126"/>
                <a:gd name="T78" fmla="*/ 160 w 181"/>
                <a:gd name="T79" fmla="*/ 1 h 126"/>
                <a:gd name="T80" fmla="*/ 156 w 181"/>
                <a:gd name="T81" fmla="*/ 4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1" h="126">
                  <a:moveTo>
                    <a:pt x="156" y="4"/>
                  </a:moveTo>
                  <a:lnTo>
                    <a:pt x="71" y="88"/>
                  </a:lnTo>
                  <a:lnTo>
                    <a:pt x="25" y="43"/>
                  </a:lnTo>
                  <a:lnTo>
                    <a:pt x="23" y="41"/>
                  </a:lnTo>
                  <a:lnTo>
                    <a:pt x="20" y="39"/>
                  </a:lnTo>
                  <a:lnTo>
                    <a:pt x="18" y="39"/>
                  </a:lnTo>
                  <a:lnTo>
                    <a:pt x="15" y="38"/>
                  </a:lnTo>
                  <a:lnTo>
                    <a:pt x="11" y="39"/>
                  </a:lnTo>
                  <a:lnTo>
                    <a:pt x="9" y="39"/>
                  </a:lnTo>
                  <a:lnTo>
                    <a:pt x="6" y="41"/>
                  </a:lnTo>
                  <a:lnTo>
                    <a:pt x="4" y="43"/>
                  </a:lnTo>
                  <a:lnTo>
                    <a:pt x="2" y="45"/>
                  </a:lnTo>
                  <a:lnTo>
                    <a:pt x="1" y="47"/>
                  </a:lnTo>
                  <a:lnTo>
                    <a:pt x="0" y="51"/>
                  </a:lnTo>
                  <a:lnTo>
                    <a:pt x="0" y="53"/>
                  </a:lnTo>
                  <a:lnTo>
                    <a:pt x="0" y="56"/>
                  </a:lnTo>
                  <a:lnTo>
                    <a:pt x="1" y="59"/>
                  </a:lnTo>
                  <a:lnTo>
                    <a:pt x="2" y="61"/>
                  </a:lnTo>
                  <a:lnTo>
                    <a:pt x="4" y="63"/>
                  </a:lnTo>
                  <a:lnTo>
                    <a:pt x="61" y="121"/>
                  </a:lnTo>
                  <a:lnTo>
                    <a:pt x="63" y="122"/>
                  </a:lnTo>
                  <a:lnTo>
                    <a:pt x="66" y="124"/>
                  </a:lnTo>
                  <a:lnTo>
                    <a:pt x="68" y="126"/>
                  </a:lnTo>
                  <a:lnTo>
                    <a:pt x="71" y="126"/>
                  </a:lnTo>
                  <a:lnTo>
                    <a:pt x="74" y="126"/>
                  </a:lnTo>
                  <a:lnTo>
                    <a:pt x="77" y="124"/>
                  </a:lnTo>
                  <a:lnTo>
                    <a:pt x="80" y="122"/>
                  </a:lnTo>
                  <a:lnTo>
                    <a:pt x="82" y="121"/>
                  </a:lnTo>
                  <a:lnTo>
                    <a:pt x="176" y="26"/>
                  </a:lnTo>
                  <a:lnTo>
                    <a:pt x="178" y="24"/>
                  </a:lnTo>
                  <a:lnTo>
                    <a:pt x="180" y="21"/>
                  </a:lnTo>
                  <a:lnTo>
                    <a:pt x="180" y="17"/>
                  </a:lnTo>
                  <a:lnTo>
                    <a:pt x="181" y="15"/>
                  </a:lnTo>
                  <a:lnTo>
                    <a:pt x="180" y="12"/>
                  </a:lnTo>
                  <a:lnTo>
                    <a:pt x="180" y="9"/>
                  </a:lnTo>
                  <a:lnTo>
                    <a:pt x="178" y="6"/>
                  </a:lnTo>
                  <a:lnTo>
                    <a:pt x="176" y="4"/>
                  </a:lnTo>
                  <a:lnTo>
                    <a:pt x="172" y="1"/>
                  </a:lnTo>
                  <a:lnTo>
                    <a:pt x="166" y="0"/>
                  </a:lnTo>
                  <a:lnTo>
                    <a:pt x="160" y="1"/>
                  </a:lnTo>
                  <a:lnTo>
                    <a:pt x="15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185">
              <a:extLst>
                <a:ext uri="{FF2B5EF4-FFF2-40B4-BE49-F238E27FC236}">
                  <a16:creationId xmlns:a16="http://schemas.microsoft.com/office/drawing/2014/main" id="{BDC5D1A9-F5F0-49D8-A3E5-358FF393CB1A}"/>
                </a:ext>
              </a:extLst>
            </p:cNvPr>
            <p:cNvSpPr>
              <a:spLocks/>
            </p:cNvSpPr>
            <p:nvPr/>
          </p:nvSpPr>
          <p:spPr bwMode="auto">
            <a:xfrm>
              <a:off x="11109325" y="1504951"/>
              <a:ext cx="57150" cy="39688"/>
            </a:xfrm>
            <a:custGeom>
              <a:avLst/>
              <a:gdLst>
                <a:gd name="T0" fmla="*/ 156 w 181"/>
                <a:gd name="T1" fmla="*/ 4 h 124"/>
                <a:gd name="T2" fmla="*/ 71 w 181"/>
                <a:gd name="T3" fmla="*/ 88 h 124"/>
                <a:gd name="T4" fmla="*/ 25 w 181"/>
                <a:gd name="T5" fmla="*/ 41 h 124"/>
                <a:gd name="T6" fmla="*/ 23 w 181"/>
                <a:gd name="T7" fmla="*/ 39 h 124"/>
                <a:gd name="T8" fmla="*/ 20 w 181"/>
                <a:gd name="T9" fmla="*/ 38 h 124"/>
                <a:gd name="T10" fmla="*/ 18 w 181"/>
                <a:gd name="T11" fmla="*/ 37 h 124"/>
                <a:gd name="T12" fmla="*/ 15 w 181"/>
                <a:gd name="T13" fmla="*/ 37 h 124"/>
                <a:gd name="T14" fmla="*/ 11 w 181"/>
                <a:gd name="T15" fmla="*/ 37 h 124"/>
                <a:gd name="T16" fmla="*/ 9 w 181"/>
                <a:gd name="T17" fmla="*/ 38 h 124"/>
                <a:gd name="T18" fmla="*/ 6 w 181"/>
                <a:gd name="T19" fmla="*/ 39 h 124"/>
                <a:gd name="T20" fmla="*/ 4 w 181"/>
                <a:gd name="T21" fmla="*/ 41 h 124"/>
                <a:gd name="T22" fmla="*/ 2 w 181"/>
                <a:gd name="T23" fmla="*/ 43 h 124"/>
                <a:gd name="T24" fmla="*/ 1 w 181"/>
                <a:gd name="T25" fmla="*/ 47 h 124"/>
                <a:gd name="T26" fmla="*/ 0 w 181"/>
                <a:gd name="T27" fmla="*/ 49 h 124"/>
                <a:gd name="T28" fmla="*/ 0 w 181"/>
                <a:gd name="T29" fmla="*/ 52 h 124"/>
                <a:gd name="T30" fmla="*/ 0 w 181"/>
                <a:gd name="T31" fmla="*/ 55 h 124"/>
                <a:gd name="T32" fmla="*/ 1 w 181"/>
                <a:gd name="T33" fmla="*/ 57 h 124"/>
                <a:gd name="T34" fmla="*/ 2 w 181"/>
                <a:gd name="T35" fmla="*/ 61 h 124"/>
                <a:gd name="T36" fmla="*/ 4 w 181"/>
                <a:gd name="T37" fmla="*/ 63 h 124"/>
                <a:gd name="T38" fmla="*/ 61 w 181"/>
                <a:gd name="T39" fmla="*/ 119 h 124"/>
                <a:gd name="T40" fmla="*/ 63 w 181"/>
                <a:gd name="T41" fmla="*/ 122 h 124"/>
                <a:gd name="T42" fmla="*/ 66 w 181"/>
                <a:gd name="T43" fmla="*/ 123 h 124"/>
                <a:gd name="T44" fmla="*/ 68 w 181"/>
                <a:gd name="T45" fmla="*/ 124 h 124"/>
                <a:gd name="T46" fmla="*/ 71 w 181"/>
                <a:gd name="T47" fmla="*/ 124 h 124"/>
                <a:gd name="T48" fmla="*/ 74 w 181"/>
                <a:gd name="T49" fmla="*/ 124 h 124"/>
                <a:gd name="T50" fmla="*/ 77 w 181"/>
                <a:gd name="T51" fmla="*/ 123 h 124"/>
                <a:gd name="T52" fmla="*/ 80 w 181"/>
                <a:gd name="T53" fmla="*/ 122 h 124"/>
                <a:gd name="T54" fmla="*/ 82 w 181"/>
                <a:gd name="T55" fmla="*/ 119 h 124"/>
                <a:gd name="T56" fmla="*/ 176 w 181"/>
                <a:gd name="T57" fmla="*/ 25 h 124"/>
                <a:gd name="T58" fmla="*/ 178 w 181"/>
                <a:gd name="T59" fmla="*/ 23 h 124"/>
                <a:gd name="T60" fmla="*/ 180 w 181"/>
                <a:gd name="T61" fmla="*/ 20 h 124"/>
                <a:gd name="T62" fmla="*/ 180 w 181"/>
                <a:gd name="T63" fmla="*/ 18 h 124"/>
                <a:gd name="T64" fmla="*/ 181 w 181"/>
                <a:gd name="T65" fmla="*/ 14 h 124"/>
                <a:gd name="T66" fmla="*/ 180 w 181"/>
                <a:gd name="T67" fmla="*/ 11 h 124"/>
                <a:gd name="T68" fmla="*/ 180 w 181"/>
                <a:gd name="T69" fmla="*/ 9 h 124"/>
                <a:gd name="T70" fmla="*/ 178 w 181"/>
                <a:gd name="T71" fmla="*/ 6 h 124"/>
                <a:gd name="T72" fmla="*/ 176 w 181"/>
                <a:gd name="T73" fmla="*/ 4 h 124"/>
                <a:gd name="T74" fmla="*/ 174 w 181"/>
                <a:gd name="T75" fmla="*/ 2 h 124"/>
                <a:gd name="T76" fmla="*/ 172 w 181"/>
                <a:gd name="T77" fmla="*/ 1 h 124"/>
                <a:gd name="T78" fmla="*/ 169 w 181"/>
                <a:gd name="T79" fmla="*/ 0 h 124"/>
                <a:gd name="T80" fmla="*/ 166 w 181"/>
                <a:gd name="T81" fmla="*/ 0 h 124"/>
                <a:gd name="T82" fmla="*/ 163 w 181"/>
                <a:gd name="T83" fmla="*/ 0 h 124"/>
                <a:gd name="T84" fmla="*/ 160 w 181"/>
                <a:gd name="T85" fmla="*/ 1 h 124"/>
                <a:gd name="T86" fmla="*/ 158 w 181"/>
                <a:gd name="T87" fmla="*/ 2 h 124"/>
                <a:gd name="T88" fmla="*/ 156 w 181"/>
                <a:gd name="T89" fmla="*/ 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1" h="124">
                  <a:moveTo>
                    <a:pt x="156" y="4"/>
                  </a:moveTo>
                  <a:lnTo>
                    <a:pt x="71" y="88"/>
                  </a:lnTo>
                  <a:lnTo>
                    <a:pt x="25" y="41"/>
                  </a:lnTo>
                  <a:lnTo>
                    <a:pt x="23" y="39"/>
                  </a:lnTo>
                  <a:lnTo>
                    <a:pt x="20" y="38"/>
                  </a:lnTo>
                  <a:lnTo>
                    <a:pt x="18" y="37"/>
                  </a:lnTo>
                  <a:lnTo>
                    <a:pt x="15" y="37"/>
                  </a:lnTo>
                  <a:lnTo>
                    <a:pt x="11" y="37"/>
                  </a:lnTo>
                  <a:lnTo>
                    <a:pt x="9" y="38"/>
                  </a:lnTo>
                  <a:lnTo>
                    <a:pt x="6" y="39"/>
                  </a:lnTo>
                  <a:lnTo>
                    <a:pt x="4" y="41"/>
                  </a:lnTo>
                  <a:lnTo>
                    <a:pt x="2" y="43"/>
                  </a:lnTo>
                  <a:lnTo>
                    <a:pt x="1" y="47"/>
                  </a:lnTo>
                  <a:lnTo>
                    <a:pt x="0" y="49"/>
                  </a:lnTo>
                  <a:lnTo>
                    <a:pt x="0" y="52"/>
                  </a:lnTo>
                  <a:lnTo>
                    <a:pt x="0" y="55"/>
                  </a:lnTo>
                  <a:lnTo>
                    <a:pt x="1" y="57"/>
                  </a:lnTo>
                  <a:lnTo>
                    <a:pt x="2" y="61"/>
                  </a:lnTo>
                  <a:lnTo>
                    <a:pt x="4" y="63"/>
                  </a:lnTo>
                  <a:lnTo>
                    <a:pt x="61" y="119"/>
                  </a:lnTo>
                  <a:lnTo>
                    <a:pt x="63" y="122"/>
                  </a:lnTo>
                  <a:lnTo>
                    <a:pt x="66" y="123"/>
                  </a:lnTo>
                  <a:lnTo>
                    <a:pt x="68" y="124"/>
                  </a:lnTo>
                  <a:lnTo>
                    <a:pt x="71" y="124"/>
                  </a:lnTo>
                  <a:lnTo>
                    <a:pt x="74" y="124"/>
                  </a:lnTo>
                  <a:lnTo>
                    <a:pt x="77" y="123"/>
                  </a:lnTo>
                  <a:lnTo>
                    <a:pt x="80" y="122"/>
                  </a:lnTo>
                  <a:lnTo>
                    <a:pt x="82" y="119"/>
                  </a:lnTo>
                  <a:lnTo>
                    <a:pt x="176" y="25"/>
                  </a:lnTo>
                  <a:lnTo>
                    <a:pt x="178" y="23"/>
                  </a:lnTo>
                  <a:lnTo>
                    <a:pt x="180" y="20"/>
                  </a:lnTo>
                  <a:lnTo>
                    <a:pt x="180" y="18"/>
                  </a:lnTo>
                  <a:lnTo>
                    <a:pt x="181" y="14"/>
                  </a:lnTo>
                  <a:lnTo>
                    <a:pt x="180" y="11"/>
                  </a:lnTo>
                  <a:lnTo>
                    <a:pt x="180" y="9"/>
                  </a:lnTo>
                  <a:lnTo>
                    <a:pt x="178" y="6"/>
                  </a:lnTo>
                  <a:lnTo>
                    <a:pt x="176" y="4"/>
                  </a:lnTo>
                  <a:lnTo>
                    <a:pt x="174" y="2"/>
                  </a:lnTo>
                  <a:lnTo>
                    <a:pt x="172" y="1"/>
                  </a:lnTo>
                  <a:lnTo>
                    <a:pt x="169" y="0"/>
                  </a:lnTo>
                  <a:lnTo>
                    <a:pt x="166" y="0"/>
                  </a:lnTo>
                  <a:lnTo>
                    <a:pt x="163" y="0"/>
                  </a:lnTo>
                  <a:lnTo>
                    <a:pt x="160" y="1"/>
                  </a:lnTo>
                  <a:lnTo>
                    <a:pt x="158" y="2"/>
                  </a:lnTo>
                  <a:lnTo>
                    <a:pt x="15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186">
              <a:extLst>
                <a:ext uri="{FF2B5EF4-FFF2-40B4-BE49-F238E27FC236}">
                  <a16:creationId xmlns:a16="http://schemas.microsoft.com/office/drawing/2014/main" id="{278B32CE-AB18-449A-BF1F-7A8DEFF06693}"/>
                </a:ext>
              </a:extLst>
            </p:cNvPr>
            <p:cNvSpPr>
              <a:spLocks/>
            </p:cNvSpPr>
            <p:nvPr/>
          </p:nvSpPr>
          <p:spPr bwMode="auto">
            <a:xfrm>
              <a:off x="11109325" y="1558926"/>
              <a:ext cx="57150" cy="39688"/>
            </a:xfrm>
            <a:custGeom>
              <a:avLst/>
              <a:gdLst>
                <a:gd name="T0" fmla="*/ 156 w 181"/>
                <a:gd name="T1" fmla="*/ 5 h 126"/>
                <a:gd name="T2" fmla="*/ 71 w 181"/>
                <a:gd name="T3" fmla="*/ 88 h 126"/>
                <a:gd name="T4" fmla="*/ 25 w 181"/>
                <a:gd name="T5" fmla="*/ 43 h 126"/>
                <a:gd name="T6" fmla="*/ 23 w 181"/>
                <a:gd name="T7" fmla="*/ 41 h 126"/>
                <a:gd name="T8" fmla="*/ 20 w 181"/>
                <a:gd name="T9" fmla="*/ 40 h 126"/>
                <a:gd name="T10" fmla="*/ 18 w 181"/>
                <a:gd name="T11" fmla="*/ 39 h 126"/>
                <a:gd name="T12" fmla="*/ 15 w 181"/>
                <a:gd name="T13" fmla="*/ 39 h 126"/>
                <a:gd name="T14" fmla="*/ 11 w 181"/>
                <a:gd name="T15" fmla="*/ 39 h 126"/>
                <a:gd name="T16" fmla="*/ 9 w 181"/>
                <a:gd name="T17" fmla="*/ 40 h 126"/>
                <a:gd name="T18" fmla="*/ 6 w 181"/>
                <a:gd name="T19" fmla="*/ 41 h 126"/>
                <a:gd name="T20" fmla="*/ 4 w 181"/>
                <a:gd name="T21" fmla="*/ 43 h 126"/>
                <a:gd name="T22" fmla="*/ 2 w 181"/>
                <a:gd name="T23" fmla="*/ 46 h 126"/>
                <a:gd name="T24" fmla="*/ 1 w 181"/>
                <a:gd name="T25" fmla="*/ 49 h 126"/>
                <a:gd name="T26" fmla="*/ 0 w 181"/>
                <a:gd name="T27" fmla="*/ 51 h 126"/>
                <a:gd name="T28" fmla="*/ 0 w 181"/>
                <a:gd name="T29" fmla="*/ 54 h 126"/>
                <a:gd name="T30" fmla="*/ 0 w 181"/>
                <a:gd name="T31" fmla="*/ 57 h 126"/>
                <a:gd name="T32" fmla="*/ 1 w 181"/>
                <a:gd name="T33" fmla="*/ 60 h 126"/>
                <a:gd name="T34" fmla="*/ 2 w 181"/>
                <a:gd name="T35" fmla="*/ 63 h 126"/>
                <a:gd name="T36" fmla="*/ 4 w 181"/>
                <a:gd name="T37" fmla="*/ 65 h 126"/>
                <a:gd name="T38" fmla="*/ 61 w 181"/>
                <a:gd name="T39" fmla="*/ 122 h 126"/>
                <a:gd name="T40" fmla="*/ 63 w 181"/>
                <a:gd name="T41" fmla="*/ 124 h 126"/>
                <a:gd name="T42" fmla="*/ 66 w 181"/>
                <a:gd name="T43" fmla="*/ 125 h 126"/>
                <a:gd name="T44" fmla="*/ 68 w 181"/>
                <a:gd name="T45" fmla="*/ 126 h 126"/>
                <a:gd name="T46" fmla="*/ 71 w 181"/>
                <a:gd name="T47" fmla="*/ 126 h 126"/>
                <a:gd name="T48" fmla="*/ 74 w 181"/>
                <a:gd name="T49" fmla="*/ 126 h 126"/>
                <a:gd name="T50" fmla="*/ 77 w 181"/>
                <a:gd name="T51" fmla="*/ 125 h 126"/>
                <a:gd name="T52" fmla="*/ 80 w 181"/>
                <a:gd name="T53" fmla="*/ 124 h 126"/>
                <a:gd name="T54" fmla="*/ 82 w 181"/>
                <a:gd name="T55" fmla="*/ 122 h 126"/>
                <a:gd name="T56" fmla="*/ 176 w 181"/>
                <a:gd name="T57" fmla="*/ 27 h 126"/>
                <a:gd name="T58" fmla="*/ 178 w 181"/>
                <a:gd name="T59" fmla="*/ 24 h 126"/>
                <a:gd name="T60" fmla="*/ 180 w 181"/>
                <a:gd name="T61" fmla="*/ 22 h 126"/>
                <a:gd name="T62" fmla="*/ 180 w 181"/>
                <a:gd name="T63" fmla="*/ 19 h 126"/>
                <a:gd name="T64" fmla="*/ 181 w 181"/>
                <a:gd name="T65" fmla="*/ 16 h 126"/>
                <a:gd name="T66" fmla="*/ 180 w 181"/>
                <a:gd name="T67" fmla="*/ 12 h 126"/>
                <a:gd name="T68" fmla="*/ 180 w 181"/>
                <a:gd name="T69" fmla="*/ 10 h 126"/>
                <a:gd name="T70" fmla="*/ 178 w 181"/>
                <a:gd name="T71" fmla="*/ 7 h 126"/>
                <a:gd name="T72" fmla="*/ 176 w 181"/>
                <a:gd name="T73" fmla="*/ 5 h 126"/>
                <a:gd name="T74" fmla="*/ 174 w 181"/>
                <a:gd name="T75" fmla="*/ 3 h 126"/>
                <a:gd name="T76" fmla="*/ 172 w 181"/>
                <a:gd name="T77" fmla="*/ 2 h 126"/>
                <a:gd name="T78" fmla="*/ 169 w 181"/>
                <a:gd name="T79" fmla="*/ 1 h 126"/>
                <a:gd name="T80" fmla="*/ 166 w 181"/>
                <a:gd name="T81" fmla="*/ 0 h 126"/>
                <a:gd name="T82" fmla="*/ 163 w 181"/>
                <a:gd name="T83" fmla="*/ 1 h 126"/>
                <a:gd name="T84" fmla="*/ 160 w 181"/>
                <a:gd name="T85" fmla="*/ 2 h 126"/>
                <a:gd name="T86" fmla="*/ 158 w 181"/>
                <a:gd name="T87" fmla="*/ 3 h 126"/>
                <a:gd name="T88" fmla="*/ 156 w 181"/>
                <a:gd name="T89" fmla="*/ 5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1" h="126">
                  <a:moveTo>
                    <a:pt x="156" y="5"/>
                  </a:moveTo>
                  <a:lnTo>
                    <a:pt x="71" y="88"/>
                  </a:lnTo>
                  <a:lnTo>
                    <a:pt x="25" y="43"/>
                  </a:lnTo>
                  <a:lnTo>
                    <a:pt x="23" y="41"/>
                  </a:lnTo>
                  <a:lnTo>
                    <a:pt x="20" y="40"/>
                  </a:lnTo>
                  <a:lnTo>
                    <a:pt x="18" y="39"/>
                  </a:lnTo>
                  <a:lnTo>
                    <a:pt x="15" y="39"/>
                  </a:lnTo>
                  <a:lnTo>
                    <a:pt x="11" y="39"/>
                  </a:lnTo>
                  <a:lnTo>
                    <a:pt x="9" y="40"/>
                  </a:lnTo>
                  <a:lnTo>
                    <a:pt x="6" y="41"/>
                  </a:lnTo>
                  <a:lnTo>
                    <a:pt x="4" y="43"/>
                  </a:lnTo>
                  <a:lnTo>
                    <a:pt x="2" y="46"/>
                  </a:lnTo>
                  <a:lnTo>
                    <a:pt x="1" y="49"/>
                  </a:lnTo>
                  <a:lnTo>
                    <a:pt x="0" y="51"/>
                  </a:lnTo>
                  <a:lnTo>
                    <a:pt x="0" y="54"/>
                  </a:lnTo>
                  <a:lnTo>
                    <a:pt x="0" y="57"/>
                  </a:lnTo>
                  <a:lnTo>
                    <a:pt x="1" y="60"/>
                  </a:lnTo>
                  <a:lnTo>
                    <a:pt x="2" y="63"/>
                  </a:lnTo>
                  <a:lnTo>
                    <a:pt x="4" y="65"/>
                  </a:lnTo>
                  <a:lnTo>
                    <a:pt x="61" y="122"/>
                  </a:lnTo>
                  <a:lnTo>
                    <a:pt x="63" y="124"/>
                  </a:lnTo>
                  <a:lnTo>
                    <a:pt x="66" y="125"/>
                  </a:lnTo>
                  <a:lnTo>
                    <a:pt x="68" y="126"/>
                  </a:lnTo>
                  <a:lnTo>
                    <a:pt x="71" y="126"/>
                  </a:lnTo>
                  <a:lnTo>
                    <a:pt x="74" y="126"/>
                  </a:lnTo>
                  <a:lnTo>
                    <a:pt x="77" y="125"/>
                  </a:lnTo>
                  <a:lnTo>
                    <a:pt x="80" y="124"/>
                  </a:lnTo>
                  <a:lnTo>
                    <a:pt x="82" y="122"/>
                  </a:lnTo>
                  <a:lnTo>
                    <a:pt x="176" y="27"/>
                  </a:lnTo>
                  <a:lnTo>
                    <a:pt x="178" y="24"/>
                  </a:lnTo>
                  <a:lnTo>
                    <a:pt x="180" y="22"/>
                  </a:lnTo>
                  <a:lnTo>
                    <a:pt x="180" y="19"/>
                  </a:lnTo>
                  <a:lnTo>
                    <a:pt x="181" y="16"/>
                  </a:lnTo>
                  <a:lnTo>
                    <a:pt x="180" y="12"/>
                  </a:lnTo>
                  <a:lnTo>
                    <a:pt x="180" y="10"/>
                  </a:lnTo>
                  <a:lnTo>
                    <a:pt x="178" y="7"/>
                  </a:lnTo>
                  <a:lnTo>
                    <a:pt x="176" y="5"/>
                  </a:lnTo>
                  <a:lnTo>
                    <a:pt x="174" y="3"/>
                  </a:lnTo>
                  <a:lnTo>
                    <a:pt x="172" y="2"/>
                  </a:lnTo>
                  <a:lnTo>
                    <a:pt x="169" y="1"/>
                  </a:lnTo>
                  <a:lnTo>
                    <a:pt x="166" y="0"/>
                  </a:lnTo>
                  <a:lnTo>
                    <a:pt x="163" y="1"/>
                  </a:lnTo>
                  <a:lnTo>
                    <a:pt x="160" y="2"/>
                  </a:lnTo>
                  <a:lnTo>
                    <a:pt x="158" y="3"/>
                  </a:lnTo>
                  <a:lnTo>
                    <a:pt x="15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7" name="Group 76">
            <a:extLst>
              <a:ext uri="{FF2B5EF4-FFF2-40B4-BE49-F238E27FC236}">
                <a16:creationId xmlns:a16="http://schemas.microsoft.com/office/drawing/2014/main" id="{BA6DD7A6-F15A-46F6-AE14-412C909EB457}"/>
              </a:ext>
            </a:extLst>
          </p:cNvPr>
          <p:cNvGrpSpPr/>
          <p:nvPr/>
        </p:nvGrpSpPr>
        <p:grpSpPr>
          <a:xfrm>
            <a:off x="702543" y="2935579"/>
            <a:ext cx="238126" cy="285750"/>
            <a:chOff x="6489700" y="1933576"/>
            <a:chExt cx="238126" cy="285750"/>
          </a:xfrm>
          <a:solidFill>
            <a:schemeClr val="bg1"/>
          </a:solidFill>
          <a:effectLst>
            <a:outerShdw blurRad="50800" dist="38100" dir="5400000" algn="t" rotWithShape="0">
              <a:prstClr val="black">
                <a:alpha val="20000"/>
              </a:prstClr>
            </a:outerShdw>
          </a:effectLst>
        </p:grpSpPr>
        <p:sp>
          <p:nvSpPr>
            <p:cNvPr id="78" name="Freeform 304">
              <a:extLst>
                <a:ext uri="{FF2B5EF4-FFF2-40B4-BE49-F238E27FC236}">
                  <a16:creationId xmlns:a16="http://schemas.microsoft.com/office/drawing/2014/main" id="{20E3EC75-9369-481C-8948-324C6D148934}"/>
                </a:ext>
              </a:extLst>
            </p:cNvPr>
            <p:cNvSpPr>
              <a:spLocks noEditPoints="1"/>
            </p:cNvSpPr>
            <p:nvPr/>
          </p:nvSpPr>
          <p:spPr bwMode="auto">
            <a:xfrm>
              <a:off x="6489700" y="1933576"/>
              <a:ext cx="200025" cy="257175"/>
            </a:xfrm>
            <a:custGeom>
              <a:avLst/>
              <a:gdLst>
                <a:gd name="T0" fmla="*/ 580 w 631"/>
                <a:gd name="T1" fmla="*/ 180 h 811"/>
                <a:gd name="T2" fmla="*/ 450 w 631"/>
                <a:gd name="T3" fmla="*/ 52 h 811"/>
                <a:gd name="T4" fmla="*/ 30 w 631"/>
                <a:gd name="T5" fmla="*/ 781 h 811"/>
                <a:gd name="T6" fmla="*/ 420 w 631"/>
                <a:gd name="T7" fmla="*/ 30 h 811"/>
                <a:gd name="T8" fmla="*/ 421 w 631"/>
                <a:gd name="T9" fmla="*/ 198 h 811"/>
                <a:gd name="T10" fmla="*/ 424 w 631"/>
                <a:gd name="T11" fmla="*/ 203 h 811"/>
                <a:gd name="T12" fmla="*/ 427 w 631"/>
                <a:gd name="T13" fmla="*/ 208 h 811"/>
                <a:gd name="T14" fmla="*/ 432 w 631"/>
                <a:gd name="T15" fmla="*/ 210 h 811"/>
                <a:gd name="T16" fmla="*/ 601 w 631"/>
                <a:gd name="T17" fmla="*/ 210 h 811"/>
                <a:gd name="T18" fmla="*/ 601 w 631"/>
                <a:gd name="T19" fmla="*/ 273 h 811"/>
                <a:gd name="T20" fmla="*/ 603 w 631"/>
                <a:gd name="T21" fmla="*/ 279 h 811"/>
                <a:gd name="T22" fmla="*/ 608 w 631"/>
                <a:gd name="T23" fmla="*/ 282 h 811"/>
                <a:gd name="T24" fmla="*/ 613 w 631"/>
                <a:gd name="T25" fmla="*/ 285 h 811"/>
                <a:gd name="T26" fmla="*/ 619 w 631"/>
                <a:gd name="T27" fmla="*/ 285 h 811"/>
                <a:gd name="T28" fmla="*/ 625 w 631"/>
                <a:gd name="T29" fmla="*/ 282 h 811"/>
                <a:gd name="T30" fmla="*/ 628 w 631"/>
                <a:gd name="T31" fmla="*/ 279 h 811"/>
                <a:gd name="T32" fmla="*/ 630 w 631"/>
                <a:gd name="T33" fmla="*/ 273 h 811"/>
                <a:gd name="T34" fmla="*/ 631 w 631"/>
                <a:gd name="T35" fmla="*/ 195 h 811"/>
                <a:gd name="T36" fmla="*/ 627 w 631"/>
                <a:gd name="T37" fmla="*/ 184 h 811"/>
                <a:gd name="T38" fmla="*/ 444 w 631"/>
                <a:gd name="T39" fmla="*/ 2 h 811"/>
                <a:gd name="T40" fmla="*/ 439 w 631"/>
                <a:gd name="T41" fmla="*/ 0 h 811"/>
                <a:gd name="T42" fmla="*/ 15 w 631"/>
                <a:gd name="T43" fmla="*/ 0 h 811"/>
                <a:gd name="T44" fmla="*/ 9 w 631"/>
                <a:gd name="T45" fmla="*/ 1 h 811"/>
                <a:gd name="T46" fmla="*/ 4 w 631"/>
                <a:gd name="T47" fmla="*/ 4 h 811"/>
                <a:gd name="T48" fmla="*/ 1 w 631"/>
                <a:gd name="T49" fmla="*/ 10 h 811"/>
                <a:gd name="T50" fmla="*/ 0 w 631"/>
                <a:gd name="T51" fmla="*/ 15 h 811"/>
                <a:gd name="T52" fmla="*/ 1 w 631"/>
                <a:gd name="T53" fmla="*/ 799 h 811"/>
                <a:gd name="T54" fmla="*/ 3 w 631"/>
                <a:gd name="T55" fmla="*/ 805 h 811"/>
                <a:gd name="T56" fmla="*/ 6 w 631"/>
                <a:gd name="T57" fmla="*/ 808 h 811"/>
                <a:gd name="T58" fmla="*/ 12 w 631"/>
                <a:gd name="T59" fmla="*/ 810 h 811"/>
                <a:gd name="T60" fmla="*/ 351 w 631"/>
                <a:gd name="T61" fmla="*/ 811 h 811"/>
                <a:gd name="T62" fmla="*/ 357 w 631"/>
                <a:gd name="T63" fmla="*/ 810 h 811"/>
                <a:gd name="T64" fmla="*/ 362 w 631"/>
                <a:gd name="T65" fmla="*/ 807 h 811"/>
                <a:gd name="T66" fmla="*/ 365 w 631"/>
                <a:gd name="T67" fmla="*/ 801 h 811"/>
                <a:gd name="T68" fmla="*/ 366 w 631"/>
                <a:gd name="T69" fmla="*/ 796 h 811"/>
                <a:gd name="T70" fmla="*/ 365 w 631"/>
                <a:gd name="T71" fmla="*/ 790 h 811"/>
                <a:gd name="T72" fmla="*/ 362 w 631"/>
                <a:gd name="T73" fmla="*/ 785 h 811"/>
                <a:gd name="T74" fmla="*/ 357 w 631"/>
                <a:gd name="T75" fmla="*/ 782 h 811"/>
                <a:gd name="T76" fmla="*/ 351 w 631"/>
                <a:gd name="T77" fmla="*/ 781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1" h="811">
                  <a:moveTo>
                    <a:pt x="450" y="52"/>
                  </a:moveTo>
                  <a:lnTo>
                    <a:pt x="580" y="180"/>
                  </a:lnTo>
                  <a:lnTo>
                    <a:pt x="450" y="180"/>
                  </a:lnTo>
                  <a:lnTo>
                    <a:pt x="450" y="52"/>
                  </a:lnTo>
                  <a:close/>
                  <a:moveTo>
                    <a:pt x="351" y="781"/>
                  </a:moveTo>
                  <a:lnTo>
                    <a:pt x="30" y="781"/>
                  </a:lnTo>
                  <a:lnTo>
                    <a:pt x="30" y="30"/>
                  </a:lnTo>
                  <a:lnTo>
                    <a:pt x="420" y="30"/>
                  </a:lnTo>
                  <a:lnTo>
                    <a:pt x="420" y="195"/>
                  </a:lnTo>
                  <a:lnTo>
                    <a:pt x="421" y="198"/>
                  </a:lnTo>
                  <a:lnTo>
                    <a:pt x="421" y="201"/>
                  </a:lnTo>
                  <a:lnTo>
                    <a:pt x="424" y="203"/>
                  </a:lnTo>
                  <a:lnTo>
                    <a:pt x="425" y="205"/>
                  </a:lnTo>
                  <a:lnTo>
                    <a:pt x="427" y="208"/>
                  </a:lnTo>
                  <a:lnTo>
                    <a:pt x="430" y="209"/>
                  </a:lnTo>
                  <a:lnTo>
                    <a:pt x="432" y="210"/>
                  </a:lnTo>
                  <a:lnTo>
                    <a:pt x="435" y="210"/>
                  </a:lnTo>
                  <a:lnTo>
                    <a:pt x="601" y="210"/>
                  </a:lnTo>
                  <a:lnTo>
                    <a:pt x="601" y="270"/>
                  </a:lnTo>
                  <a:lnTo>
                    <a:pt x="601" y="273"/>
                  </a:lnTo>
                  <a:lnTo>
                    <a:pt x="602" y="276"/>
                  </a:lnTo>
                  <a:lnTo>
                    <a:pt x="603" y="279"/>
                  </a:lnTo>
                  <a:lnTo>
                    <a:pt x="605" y="281"/>
                  </a:lnTo>
                  <a:lnTo>
                    <a:pt x="608" y="282"/>
                  </a:lnTo>
                  <a:lnTo>
                    <a:pt x="610" y="284"/>
                  </a:lnTo>
                  <a:lnTo>
                    <a:pt x="613" y="285"/>
                  </a:lnTo>
                  <a:lnTo>
                    <a:pt x="616" y="285"/>
                  </a:lnTo>
                  <a:lnTo>
                    <a:pt x="619" y="285"/>
                  </a:lnTo>
                  <a:lnTo>
                    <a:pt x="622" y="284"/>
                  </a:lnTo>
                  <a:lnTo>
                    <a:pt x="625" y="282"/>
                  </a:lnTo>
                  <a:lnTo>
                    <a:pt x="627" y="281"/>
                  </a:lnTo>
                  <a:lnTo>
                    <a:pt x="628" y="279"/>
                  </a:lnTo>
                  <a:lnTo>
                    <a:pt x="630" y="276"/>
                  </a:lnTo>
                  <a:lnTo>
                    <a:pt x="630" y="273"/>
                  </a:lnTo>
                  <a:lnTo>
                    <a:pt x="631" y="270"/>
                  </a:lnTo>
                  <a:lnTo>
                    <a:pt x="631" y="195"/>
                  </a:lnTo>
                  <a:lnTo>
                    <a:pt x="630" y="189"/>
                  </a:lnTo>
                  <a:lnTo>
                    <a:pt x="627" y="184"/>
                  </a:lnTo>
                  <a:lnTo>
                    <a:pt x="446" y="4"/>
                  </a:lnTo>
                  <a:lnTo>
                    <a:pt x="444" y="2"/>
                  </a:lnTo>
                  <a:lnTo>
                    <a:pt x="442" y="1"/>
                  </a:lnTo>
                  <a:lnTo>
                    <a:pt x="439" y="0"/>
                  </a:lnTo>
                  <a:lnTo>
                    <a:pt x="435" y="0"/>
                  </a:lnTo>
                  <a:lnTo>
                    <a:pt x="15" y="0"/>
                  </a:lnTo>
                  <a:lnTo>
                    <a:pt x="12" y="0"/>
                  </a:lnTo>
                  <a:lnTo>
                    <a:pt x="9" y="1"/>
                  </a:lnTo>
                  <a:lnTo>
                    <a:pt x="6" y="2"/>
                  </a:lnTo>
                  <a:lnTo>
                    <a:pt x="4" y="4"/>
                  </a:lnTo>
                  <a:lnTo>
                    <a:pt x="3" y="6"/>
                  </a:lnTo>
                  <a:lnTo>
                    <a:pt x="1" y="10"/>
                  </a:lnTo>
                  <a:lnTo>
                    <a:pt x="1" y="12"/>
                  </a:lnTo>
                  <a:lnTo>
                    <a:pt x="0" y="15"/>
                  </a:lnTo>
                  <a:lnTo>
                    <a:pt x="0" y="796"/>
                  </a:lnTo>
                  <a:lnTo>
                    <a:pt x="1" y="799"/>
                  </a:lnTo>
                  <a:lnTo>
                    <a:pt x="1" y="801"/>
                  </a:lnTo>
                  <a:lnTo>
                    <a:pt x="3" y="805"/>
                  </a:lnTo>
                  <a:lnTo>
                    <a:pt x="4" y="807"/>
                  </a:lnTo>
                  <a:lnTo>
                    <a:pt x="6" y="808"/>
                  </a:lnTo>
                  <a:lnTo>
                    <a:pt x="9" y="810"/>
                  </a:lnTo>
                  <a:lnTo>
                    <a:pt x="12" y="810"/>
                  </a:lnTo>
                  <a:lnTo>
                    <a:pt x="15" y="811"/>
                  </a:lnTo>
                  <a:lnTo>
                    <a:pt x="351" y="811"/>
                  </a:lnTo>
                  <a:lnTo>
                    <a:pt x="354" y="810"/>
                  </a:lnTo>
                  <a:lnTo>
                    <a:pt x="357" y="810"/>
                  </a:lnTo>
                  <a:lnTo>
                    <a:pt x="359" y="808"/>
                  </a:lnTo>
                  <a:lnTo>
                    <a:pt x="362" y="807"/>
                  </a:lnTo>
                  <a:lnTo>
                    <a:pt x="364" y="805"/>
                  </a:lnTo>
                  <a:lnTo>
                    <a:pt x="365" y="801"/>
                  </a:lnTo>
                  <a:lnTo>
                    <a:pt x="366" y="799"/>
                  </a:lnTo>
                  <a:lnTo>
                    <a:pt x="366" y="796"/>
                  </a:lnTo>
                  <a:lnTo>
                    <a:pt x="366" y="793"/>
                  </a:lnTo>
                  <a:lnTo>
                    <a:pt x="365" y="790"/>
                  </a:lnTo>
                  <a:lnTo>
                    <a:pt x="364" y="788"/>
                  </a:lnTo>
                  <a:lnTo>
                    <a:pt x="362" y="785"/>
                  </a:lnTo>
                  <a:lnTo>
                    <a:pt x="359" y="783"/>
                  </a:lnTo>
                  <a:lnTo>
                    <a:pt x="357" y="782"/>
                  </a:lnTo>
                  <a:lnTo>
                    <a:pt x="354" y="781"/>
                  </a:lnTo>
                  <a:lnTo>
                    <a:pt x="351" y="7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305">
              <a:extLst>
                <a:ext uri="{FF2B5EF4-FFF2-40B4-BE49-F238E27FC236}">
                  <a16:creationId xmlns:a16="http://schemas.microsoft.com/office/drawing/2014/main" id="{4FAA4971-D50D-4C83-8AE6-B2E838EAE87D}"/>
                </a:ext>
              </a:extLst>
            </p:cNvPr>
            <p:cNvSpPr>
              <a:spLocks noEditPoints="1"/>
            </p:cNvSpPr>
            <p:nvPr/>
          </p:nvSpPr>
          <p:spPr bwMode="auto">
            <a:xfrm>
              <a:off x="6651625" y="2076451"/>
              <a:ext cx="47625" cy="47625"/>
            </a:xfrm>
            <a:custGeom>
              <a:avLst/>
              <a:gdLst>
                <a:gd name="T0" fmla="*/ 85 w 151"/>
                <a:gd name="T1" fmla="*/ 31 h 150"/>
                <a:gd name="T2" fmla="*/ 101 w 151"/>
                <a:gd name="T3" fmla="*/ 38 h 150"/>
                <a:gd name="T4" fmla="*/ 114 w 151"/>
                <a:gd name="T5" fmla="*/ 51 h 150"/>
                <a:gd name="T6" fmla="*/ 120 w 151"/>
                <a:gd name="T7" fmla="*/ 67 h 150"/>
                <a:gd name="T8" fmla="*/ 120 w 151"/>
                <a:gd name="T9" fmla="*/ 85 h 150"/>
                <a:gd name="T10" fmla="*/ 114 w 151"/>
                <a:gd name="T11" fmla="*/ 101 h 150"/>
                <a:gd name="T12" fmla="*/ 101 w 151"/>
                <a:gd name="T13" fmla="*/ 113 h 150"/>
                <a:gd name="T14" fmla="*/ 85 w 151"/>
                <a:gd name="T15" fmla="*/ 119 h 150"/>
                <a:gd name="T16" fmla="*/ 67 w 151"/>
                <a:gd name="T17" fmla="*/ 119 h 150"/>
                <a:gd name="T18" fmla="*/ 51 w 151"/>
                <a:gd name="T19" fmla="*/ 113 h 150"/>
                <a:gd name="T20" fmla="*/ 39 w 151"/>
                <a:gd name="T21" fmla="*/ 101 h 150"/>
                <a:gd name="T22" fmla="*/ 31 w 151"/>
                <a:gd name="T23" fmla="*/ 85 h 150"/>
                <a:gd name="T24" fmla="*/ 31 w 151"/>
                <a:gd name="T25" fmla="*/ 67 h 150"/>
                <a:gd name="T26" fmla="*/ 39 w 151"/>
                <a:gd name="T27" fmla="*/ 51 h 150"/>
                <a:gd name="T28" fmla="*/ 51 w 151"/>
                <a:gd name="T29" fmla="*/ 38 h 150"/>
                <a:gd name="T30" fmla="*/ 67 w 151"/>
                <a:gd name="T31" fmla="*/ 31 h 150"/>
                <a:gd name="T32" fmla="*/ 76 w 151"/>
                <a:gd name="T33" fmla="*/ 150 h 150"/>
                <a:gd name="T34" fmla="*/ 91 w 151"/>
                <a:gd name="T35" fmla="*/ 149 h 150"/>
                <a:gd name="T36" fmla="*/ 105 w 151"/>
                <a:gd name="T37" fmla="*/ 145 h 150"/>
                <a:gd name="T38" fmla="*/ 118 w 151"/>
                <a:gd name="T39" fmla="*/ 137 h 150"/>
                <a:gd name="T40" fmla="*/ 129 w 151"/>
                <a:gd name="T41" fmla="*/ 129 h 150"/>
                <a:gd name="T42" fmla="*/ 138 w 151"/>
                <a:gd name="T43" fmla="*/ 117 h 150"/>
                <a:gd name="T44" fmla="*/ 145 w 151"/>
                <a:gd name="T45" fmla="*/ 105 h 150"/>
                <a:gd name="T46" fmla="*/ 149 w 151"/>
                <a:gd name="T47" fmla="*/ 90 h 150"/>
                <a:gd name="T48" fmla="*/ 151 w 151"/>
                <a:gd name="T49" fmla="*/ 75 h 150"/>
                <a:gd name="T50" fmla="*/ 149 w 151"/>
                <a:gd name="T51" fmla="*/ 60 h 150"/>
                <a:gd name="T52" fmla="*/ 145 w 151"/>
                <a:gd name="T53" fmla="*/ 46 h 150"/>
                <a:gd name="T54" fmla="*/ 138 w 151"/>
                <a:gd name="T55" fmla="*/ 34 h 150"/>
                <a:gd name="T56" fmla="*/ 129 w 151"/>
                <a:gd name="T57" fmla="*/ 23 h 150"/>
                <a:gd name="T58" fmla="*/ 118 w 151"/>
                <a:gd name="T59" fmla="*/ 13 h 150"/>
                <a:gd name="T60" fmla="*/ 105 w 151"/>
                <a:gd name="T61" fmla="*/ 6 h 150"/>
                <a:gd name="T62" fmla="*/ 91 w 151"/>
                <a:gd name="T63" fmla="*/ 2 h 150"/>
                <a:gd name="T64" fmla="*/ 76 w 151"/>
                <a:gd name="T65" fmla="*/ 0 h 150"/>
                <a:gd name="T66" fmla="*/ 61 w 151"/>
                <a:gd name="T67" fmla="*/ 2 h 150"/>
                <a:gd name="T68" fmla="*/ 46 w 151"/>
                <a:gd name="T69" fmla="*/ 6 h 150"/>
                <a:gd name="T70" fmla="*/ 33 w 151"/>
                <a:gd name="T71" fmla="*/ 13 h 150"/>
                <a:gd name="T72" fmla="*/ 23 w 151"/>
                <a:gd name="T73" fmla="*/ 23 h 150"/>
                <a:gd name="T74" fmla="*/ 13 w 151"/>
                <a:gd name="T75" fmla="*/ 34 h 150"/>
                <a:gd name="T76" fmla="*/ 7 w 151"/>
                <a:gd name="T77" fmla="*/ 46 h 150"/>
                <a:gd name="T78" fmla="*/ 2 w 151"/>
                <a:gd name="T79" fmla="*/ 60 h 150"/>
                <a:gd name="T80" fmla="*/ 0 w 151"/>
                <a:gd name="T81" fmla="*/ 75 h 150"/>
                <a:gd name="T82" fmla="*/ 2 w 151"/>
                <a:gd name="T83" fmla="*/ 90 h 150"/>
                <a:gd name="T84" fmla="*/ 7 w 151"/>
                <a:gd name="T85" fmla="*/ 105 h 150"/>
                <a:gd name="T86" fmla="*/ 13 w 151"/>
                <a:gd name="T87" fmla="*/ 117 h 150"/>
                <a:gd name="T88" fmla="*/ 23 w 151"/>
                <a:gd name="T89" fmla="*/ 129 h 150"/>
                <a:gd name="T90" fmla="*/ 33 w 151"/>
                <a:gd name="T91" fmla="*/ 137 h 150"/>
                <a:gd name="T92" fmla="*/ 46 w 151"/>
                <a:gd name="T93" fmla="*/ 145 h 150"/>
                <a:gd name="T94" fmla="*/ 61 w 151"/>
                <a:gd name="T95" fmla="*/ 149 h 150"/>
                <a:gd name="T96" fmla="*/ 76 w 151"/>
                <a:gd name="T9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1" h="150">
                  <a:moveTo>
                    <a:pt x="76" y="30"/>
                  </a:moveTo>
                  <a:lnTo>
                    <a:pt x="85" y="31"/>
                  </a:lnTo>
                  <a:lnTo>
                    <a:pt x="93" y="34"/>
                  </a:lnTo>
                  <a:lnTo>
                    <a:pt x="101" y="38"/>
                  </a:lnTo>
                  <a:lnTo>
                    <a:pt x="107" y="44"/>
                  </a:lnTo>
                  <a:lnTo>
                    <a:pt x="114" y="51"/>
                  </a:lnTo>
                  <a:lnTo>
                    <a:pt x="117" y="58"/>
                  </a:lnTo>
                  <a:lnTo>
                    <a:pt x="120" y="67"/>
                  </a:lnTo>
                  <a:lnTo>
                    <a:pt x="121" y="75"/>
                  </a:lnTo>
                  <a:lnTo>
                    <a:pt x="120" y="85"/>
                  </a:lnTo>
                  <a:lnTo>
                    <a:pt x="117" y="94"/>
                  </a:lnTo>
                  <a:lnTo>
                    <a:pt x="114" y="101"/>
                  </a:lnTo>
                  <a:lnTo>
                    <a:pt x="107" y="107"/>
                  </a:lnTo>
                  <a:lnTo>
                    <a:pt x="101" y="113"/>
                  </a:lnTo>
                  <a:lnTo>
                    <a:pt x="93" y="117"/>
                  </a:lnTo>
                  <a:lnTo>
                    <a:pt x="85" y="119"/>
                  </a:lnTo>
                  <a:lnTo>
                    <a:pt x="76" y="120"/>
                  </a:lnTo>
                  <a:lnTo>
                    <a:pt x="67" y="119"/>
                  </a:lnTo>
                  <a:lnTo>
                    <a:pt x="58" y="117"/>
                  </a:lnTo>
                  <a:lnTo>
                    <a:pt x="51" y="113"/>
                  </a:lnTo>
                  <a:lnTo>
                    <a:pt x="44" y="107"/>
                  </a:lnTo>
                  <a:lnTo>
                    <a:pt x="39" y="101"/>
                  </a:lnTo>
                  <a:lnTo>
                    <a:pt x="34" y="94"/>
                  </a:lnTo>
                  <a:lnTo>
                    <a:pt x="31" y="85"/>
                  </a:lnTo>
                  <a:lnTo>
                    <a:pt x="31" y="75"/>
                  </a:lnTo>
                  <a:lnTo>
                    <a:pt x="31" y="67"/>
                  </a:lnTo>
                  <a:lnTo>
                    <a:pt x="34" y="58"/>
                  </a:lnTo>
                  <a:lnTo>
                    <a:pt x="39" y="51"/>
                  </a:lnTo>
                  <a:lnTo>
                    <a:pt x="44" y="44"/>
                  </a:lnTo>
                  <a:lnTo>
                    <a:pt x="51" y="38"/>
                  </a:lnTo>
                  <a:lnTo>
                    <a:pt x="58" y="34"/>
                  </a:lnTo>
                  <a:lnTo>
                    <a:pt x="67" y="31"/>
                  </a:lnTo>
                  <a:lnTo>
                    <a:pt x="76" y="30"/>
                  </a:lnTo>
                  <a:close/>
                  <a:moveTo>
                    <a:pt x="76" y="150"/>
                  </a:moveTo>
                  <a:lnTo>
                    <a:pt x="84" y="150"/>
                  </a:lnTo>
                  <a:lnTo>
                    <a:pt x="91" y="149"/>
                  </a:lnTo>
                  <a:lnTo>
                    <a:pt x="98" y="147"/>
                  </a:lnTo>
                  <a:lnTo>
                    <a:pt x="105" y="145"/>
                  </a:lnTo>
                  <a:lnTo>
                    <a:pt x="112" y="142"/>
                  </a:lnTo>
                  <a:lnTo>
                    <a:pt x="118" y="137"/>
                  </a:lnTo>
                  <a:lnTo>
                    <a:pt x="123" y="133"/>
                  </a:lnTo>
                  <a:lnTo>
                    <a:pt x="129" y="129"/>
                  </a:lnTo>
                  <a:lnTo>
                    <a:pt x="134" y="124"/>
                  </a:lnTo>
                  <a:lnTo>
                    <a:pt x="138" y="117"/>
                  </a:lnTo>
                  <a:lnTo>
                    <a:pt x="141" y="112"/>
                  </a:lnTo>
                  <a:lnTo>
                    <a:pt x="145" y="105"/>
                  </a:lnTo>
                  <a:lnTo>
                    <a:pt x="148" y="98"/>
                  </a:lnTo>
                  <a:lnTo>
                    <a:pt x="149" y="90"/>
                  </a:lnTo>
                  <a:lnTo>
                    <a:pt x="150" y="83"/>
                  </a:lnTo>
                  <a:lnTo>
                    <a:pt x="151" y="75"/>
                  </a:lnTo>
                  <a:lnTo>
                    <a:pt x="150" y="68"/>
                  </a:lnTo>
                  <a:lnTo>
                    <a:pt x="149" y="60"/>
                  </a:lnTo>
                  <a:lnTo>
                    <a:pt x="148" y="53"/>
                  </a:lnTo>
                  <a:lnTo>
                    <a:pt x="145" y="46"/>
                  </a:lnTo>
                  <a:lnTo>
                    <a:pt x="141" y="40"/>
                  </a:lnTo>
                  <a:lnTo>
                    <a:pt x="138" y="34"/>
                  </a:lnTo>
                  <a:lnTo>
                    <a:pt x="134" y="28"/>
                  </a:lnTo>
                  <a:lnTo>
                    <a:pt x="129" y="23"/>
                  </a:lnTo>
                  <a:lnTo>
                    <a:pt x="123" y="18"/>
                  </a:lnTo>
                  <a:lnTo>
                    <a:pt x="118" y="13"/>
                  </a:lnTo>
                  <a:lnTo>
                    <a:pt x="112" y="9"/>
                  </a:lnTo>
                  <a:lnTo>
                    <a:pt x="105" y="6"/>
                  </a:lnTo>
                  <a:lnTo>
                    <a:pt x="98" y="4"/>
                  </a:lnTo>
                  <a:lnTo>
                    <a:pt x="91" y="2"/>
                  </a:lnTo>
                  <a:lnTo>
                    <a:pt x="84" y="0"/>
                  </a:lnTo>
                  <a:lnTo>
                    <a:pt x="76" y="0"/>
                  </a:lnTo>
                  <a:lnTo>
                    <a:pt x="68" y="0"/>
                  </a:lnTo>
                  <a:lnTo>
                    <a:pt x="61" y="2"/>
                  </a:lnTo>
                  <a:lnTo>
                    <a:pt x="54" y="4"/>
                  </a:lnTo>
                  <a:lnTo>
                    <a:pt x="46" y="6"/>
                  </a:lnTo>
                  <a:lnTo>
                    <a:pt x="40" y="9"/>
                  </a:lnTo>
                  <a:lnTo>
                    <a:pt x="33" y="13"/>
                  </a:lnTo>
                  <a:lnTo>
                    <a:pt x="28" y="18"/>
                  </a:lnTo>
                  <a:lnTo>
                    <a:pt x="23" y="23"/>
                  </a:lnTo>
                  <a:lnTo>
                    <a:pt x="18" y="28"/>
                  </a:lnTo>
                  <a:lnTo>
                    <a:pt x="13" y="34"/>
                  </a:lnTo>
                  <a:lnTo>
                    <a:pt x="10" y="40"/>
                  </a:lnTo>
                  <a:lnTo>
                    <a:pt x="7" y="46"/>
                  </a:lnTo>
                  <a:lnTo>
                    <a:pt x="5" y="53"/>
                  </a:lnTo>
                  <a:lnTo>
                    <a:pt x="2" y="60"/>
                  </a:lnTo>
                  <a:lnTo>
                    <a:pt x="1" y="68"/>
                  </a:lnTo>
                  <a:lnTo>
                    <a:pt x="0" y="75"/>
                  </a:lnTo>
                  <a:lnTo>
                    <a:pt x="1" y="83"/>
                  </a:lnTo>
                  <a:lnTo>
                    <a:pt x="2" y="90"/>
                  </a:lnTo>
                  <a:lnTo>
                    <a:pt x="5" y="98"/>
                  </a:lnTo>
                  <a:lnTo>
                    <a:pt x="7" y="105"/>
                  </a:lnTo>
                  <a:lnTo>
                    <a:pt x="10" y="112"/>
                  </a:lnTo>
                  <a:lnTo>
                    <a:pt x="13" y="117"/>
                  </a:lnTo>
                  <a:lnTo>
                    <a:pt x="18" y="124"/>
                  </a:lnTo>
                  <a:lnTo>
                    <a:pt x="23" y="129"/>
                  </a:lnTo>
                  <a:lnTo>
                    <a:pt x="28" y="133"/>
                  </a:lnTo>
                  <a:lnTo>
                    <a:pt x="33" y="137"/>
                  </a:lnTo>
                  <a:lnTo>
                    <a:pt x="40" y="142"/>
                  </a:lnTo>
                  <a:lnTo>
                    <a:pt x="46" y="145"/>
                  </a:lnTo>
                  <a:lnTo>
                    <a:pt x="54" y="147"/>
                  </a:lnTo>
                  <a:lnTo>
                    <a:pt x="61" y="149"/>
                  </a:lnTo>
                  <a:lnTo>
                    <a:pt x="68" y="150"/>
                  </a:lnTo>
                  <a:lnTo>
                    <a:pt x="76"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306">
              <a:extLst>
                <a:ext uri="{FF2B5EF4-FFF2-40B4-BE49-F238E27FC236}">
                  <a16:creationId xmlns:a16="http://schemas.microsoft.com/office/drawing/2014/main" id="{83A98846-5844-4CEF-B95E-87A9AB6962FA}"/>
                </a:ext>
              </a:extLst>
            </p:cNvPr>
            <p:cNvSpPr>
              <a:spLocks noEditPoints="1"/>
            </p:cNvSpPr>
            <p:nvPr/>
          </p:nvSpPr>
          <p:spPr bwMode="auto">
            <a:xfrm>
              <a:off x="6618288" y="2041526"/>
              <a:ext cx="109538" cy="177800"/>
            </a:xfrm>
            <a:custGeom>
              <a:avLst/>
              <a:gdLst>
                <a:gd name="T0" fmla="*/ 181 w 346"/>
                <a:gd name="T1" fmla="*/ 441 h 561"/>
                <a:gd name="T2" fmla="*/ 75 w 346"/>
                <a:gd name="T3" fmla="*/ 323 h 561"/>
                <a:gd name="T4" fmla="*/ 108 w 346"/>
                <a:gd name="T5" fmla="*/ 345 h 561"/>
                <a:gd name="T6" fmla="*/ 149 w 346"/>
                <a:gd name="T7" fmla="*/ 368 h 561"/>
                <a:gd name="T8" fmla="*/ 197 w 346"/>
                <a:gd name="T9" fmla="*/ 368 h 561"/>
                <a:gd name="T10" fmla="*/ 239 w 346"/>
                <a:gd name="T11" fmla="*/ 345 h 561"/>
                <a:gd name="T12" fmla="*/ 255 w 346"/>
                <a:gd name="T13" fmla="*/ 326 h 561"/>
                <a:gd name="T14" fmla="*/ 279 w 346"/>
                <a:gd name="T15" fmla="*/ 321 h 561"/>
                <a:gd name="T16" fmla="*/ 46 w 346"/>
                <a:gd name="T17" fmla="*/ 191 h 561"/>
                <a:gd name="T18" fmla="*/ 39 w 346"/>
                <a:gd name="T19" fmla="*/ 169 h 561"/>
                <a:gd name="T20" fmla="*/ 30 w 346"/>
                <a:gd name="T21" fmla="*/ 135 h 561"/>
                <a:gd name="T22" fmla="*/ 44 w 346"/>
                <a:gd name="T23" fmla="*/ 101 h 561"/>
                <a:gd name="T24" fmla="*/ 73 w 346"/>
                <a:gd name="T25" fmla="*/ 82 h 561"/>
                <a:gd name="T26" fmla="*/ 105 w 346"/>
                <a:gd name="T27" fmla="*/ 79 h 561"/>
                <a:gd name="T28" fmla="*/ 121 w 346"/>
                <a:gd name="T29" fmla="*/ 61 h 561"/>
                <a:gd name="T30" fmla="*/ 147 w 346"/>
                <a:gd name="T31" fmla="*/ 37 h 561"/>
                <a:gd name="T32" fmla="*/ 182 w 346"/>
                <a:gd name="T33" fmla="*/ 31 h 561"/>
                <a:gd name="T34" fmla="*/ 214 w 346"/>
                <a:gd name="T35" fmla="*/ 47 h 561"/>
                <a:gd name="T36" fmla="*/ 233 w 346"/>
                <a:gd name="T37" fmla="*/ 74 h 561"/>
                <a:gd name="T38" fmla="*/ 255 w 346"/>
                <a:gd name="T39" fmla="*/ 78 h 561"/>
                <a:gd name="T40" fmla="*/ 289 w 346"/>
                <a:gd name="T41" fmla="*/ 89 h 561"/>
                <a:gd name="T42" fmla="*/ 312 w 346"/>
                <a:gd name="T43" fmla="*/ 117 h 561"/>
                <a:gd name="T44" fmla="*/ 315 w 346"/>
                <a:gd name="T45" fmla="*/ 152 h 561"/>
                <a:gd name="T46" fmla="*/ 300 w 346"/>
                <a:gd name="T47" fmla="*/ 182 h 561"/>
                <a:gd name="T48" fmla="*/ 307 w 346"/>
                <a:gd name="T49" fmla="*/ 204 h 561"/>
                <a:gd name="T50" fmla="*/ 316 w 346"/>
                <a:gd name="T51" fmla="*/ 238 h 561"/>
                <a:gd name="T52" fmla="*/ 303 w 346"/>
                <a:gd name="T53" fmla="*/ 272 h 561"/>
                <a:gd name="T54" fmla="*/ 273 w 346"/>
                <a:gd name="T55" fmla="*/ 292 h 561"/>
                <a:gd name="T56" fmla="*/ 241 w 346"/>
                <a:gd name="T57" fmla="*/ 295 h 561"/>
                <a:gd name="T58" fmla="*/ 226 w 346"/>
                <a:gd name="T59" fmla="*/ 311 h 561"/>
                <a:gd name="T60" fmla="*/ 199 w 346"/>
                <a:gd name="T61" fmla="*/ 335 h 561"/>
                <a:gd name="T62" fmla="*/ 164 w 346"/>
                <a:gd name="T63" fmla="*/ 341 h 561"/>
                <a:gd name="T64" fmla="*/ 132 w 346"/>
                <a:gd name="T65" fmla="*/ 326 h 561"/>
                <a:gd name="T66" fmla="*/ 115 w 346"/>
                <a:gd name="T67" fmla="*/ 299 h 561"/>
                <a:gd name="T68" fmla="*/ 102 w 346"/>
                <a:gd name="T69" fmla="*/ 293 h 561"/>
                <a:gd name="T70" fmla="*/ 73 w 346"/>
                <a:gd name="T71" fmla="*/ 292 h 561"/>
                <a:gd name="T72" fmla="*/ 44 w 346"/>
                <a:gd name="T73" fmla="*/ 272 h 561"/>
                <a:gd name="T74" fmla="*/ 30 w 346"/>
                <a:gd name="T75" fmla="*/ 238 h 561"/>
                <a:gd name="T76" fmla="*/ 39 w 346"/>
                <a:gd name="T77" fmla="*/ 204 h 561"/>
                <a:gd name="T78" fmla="*/ 343 w 346"/>
                <a:gd name="T79" fmla="*/ 164 h 561"/>
                <a:gd name="T80" fmla="*/ 343 w 346"/>
                <a:gd name="T81" fmla="*/ 117 h 561"/>
                <a:gd name="T82" fmla="*/ 319 w 346"/>
                <a:gd name="T83" fmla="*/ 74 h 561"/>
                <a:gd name="T84" fmla="*/ 278 w 346"/>
                <a:gd name="T85" fmla="*/ 52 h 561"/>
                <a:gd name="T86" fmla="*/ 239 w 346"/>
                <a:gd name="T87" fmla="*/ 29 h 561"/>
                <a:gd name="T88" fmla="*/ 198 w 346"/>
                <a:gd name="T89" fmla="*/ 5 h 561"/>
                <a:gd name="T90" fmla="*/ 149 w 346"/>
                <a:gd name="T91" fmla="*/ 5 h 561"/>
                <a:gd name="T92" fmla="*/ 108 w 346"/>
                <a:gd name="T93" fmla="*/ 29 h 561"/>
                <a:gd name="T94" fmla="*/ 69 w 346"/>
                <a:gd name="T95" fmla="*/ 52 h 561"/>
                <a:gd name="T96" fmla="*/ 27 w 346"/>
                <a:gd name="T97" fmla="*/ 75 h 561"/>
                <a:gd name="T98" fmla="*/ 4 w 346"/>
                <a:gd name="T99" fmla="*/ 117 h 561"/>
                <a:gd name="T100" fmla="*/ 5 w 346"/>
                <a:gd name="T101" fmla="*/ 164 h 561"/>
                <a:gd name="T102" fmla="*/ 5 w 346"/>
                <a:gd name="T103" fmla="*/ 209 h 561"/>
                <a:gd name="T104" fmla="*/ 4 w 346"/>
                <a:gd name="T105" fmla="*/ 257 h 561"/>
                <a:gd name="T106" fmla="*/ 27 w 346"/>
                <a:gd name="T107" fmla="*/ 298 h 561"/>
                <a:gd name="T108" fmla="*/ 46 w 346"/>
                <a:gd name="T109" fmla="*/ 550 h 561"/>
                <a:gd name="T110" fmla="*/ 58 w 346"/>
                <a:gd name="T111" fmla="*/ 561 h 561"/>
                <a:gd name="T112" fmla="*/ 181 w 346"/>
                <a:gd name="T113" fmla="*/ 475 h 561"/>
                <a:gd name="T114" fmla="*/ 299 w 346"/>
                <a:gd name="T115" fmla="*/ 561 h 561"/>
                <a:gd name="T116" fmla="*/ 311 w 346"/>
                <a:gd name="T117" fmla="*/ 558 h 561"/>
                <a:gd name="T118" fmla="*/ 316 w 346"/>
                <a:gd name="T119" fmla="*/ 301 h 561"/>
                <a:gd name="T120" fmla="*/ 343 w 346"/>
                <a:gd name="T121" fmla="*/ 257 h 561"/>
                <a:gd name="T122" fmla="*/ 343 w 346"/>
                <a:gd name="T123" fmla="*/ 209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6" h="561">
                  <a:moveTo>
                    <a:pt x="286" y="516"/>
                  </a:moveTo>
                  <a:lnTo>
                    <a:pt x="190" y="443"/>
                  </a:lnTo>
                  <a:lnTo>
                    <a:pt x="185" y="442"/>
                  </a:lnTo>
                  <a:lnTo>
                    <a:pt x="181" y="441"/>
                  </a:lnTo>
                  <a:lnTo>
                    <a:pt x="176" y="442"/>
                  </a:lnTo>
                  <a:lnTo>
                    <a:pt x="172" y="443"/>
                  </a:lnTo>
                  <a:lnTo>
                    <a:pt x="75" y="516"/>
                  </a:lnTo>
                  <a:lnTo>
                    <a:pt x="75" y="323"/>
                  </a:lnTo>
                  <a:lnTo>
                    <a:pt x="85" y="325"/>
                  </a:lnTo>
                  <a:lnTo>
                    <a:pt x="93" y="326"/>
                  </a:lnTo>
                  <a:lnTo>
                    <a:pt x="100" y="335"/>
                  </a:lnTo>
                  <a:lnTo>
                    <a:pt x="108" y="345"/>
                  </a:lnTo>
                  <a:lnTo>
                    <a:pt x="117" y="352"/>
                  </a:lnTo>
                  <a:lnTo>
                    <a:pt x="127" y="359"/>
                  </a:lnTo>
                  <a:lnTo>
                    <a:pt x="137" y="364"/>
                  </a:lnTo>
                  <a:lnTo>
                    <a:pt x="149" y="368"/>
                  </a:lnTo>
                  <a:lnTo>
                    <a:pt x="161" y="371"/>
                  </a:lnTo>
                  <a:lnTo>
                    <a:pt x="174" y="372"/>
                  </a:lnTo>
                  <a:lnTo>
                    <a:pt x="185" y="371"/>
                  </a:lnTo>
                  <a:lnTo>
                    <a:pt x="197" y="368"/>
                  </a:lnTo>
                  <a:lnTo>
                    <a:pt x="209" y="364"/>
                  </a:lnTo>
                  <a:lnTo>
                    <a:pt x="220" y="359"/>
                  </a:lnTo>
                  <a:lnTo>
                    <a:pt x="229" y="352"/>
                  </a:lnTo>
                  <a:lnTo>
                    <a:pt x="239" y="345"/>
                  </a:lnTo>
                  <a:lnTo>
                    <a:pt x="246" y="335"/>
                  </a:lnTo>
                  <a:lnTo>
                    <a:pt x="253" y="326"/>
                  </a:lnTo>
                  <a:lnTo>
                    <a:pt x="254" y="326"/>
                  </a:lnTo>
                  <a:lnTo>
                    <a:pt x="255" y="326"/>
                  </a:lnTo>
                  <a:lnTo>
                    <a:pt x="255" y="326"/>
                  </a:lnTo>
                  <a:lnTo>
                    <a:pt x="264" y="325"/>
                  </a:lnTo>
                  <a:lnTo>
                    <a:pt x="271" y="323"/>
                  </a:lnTo>
                  <a:lnTo>
                    <a:pt x="279" y="321"/>
                  </a:lnTo>
                  <a:lnTo>
                    <a:pt x="286" y="319"/>
                  </a:lnTo>
                  <a:lnTo>
                    <a:pt x="286" y="516"/>
                  </a:lnTo>
                  <a:close/>
                  <a:moveTo>
                    <a:pt x="44" y="196"/>
                  </a:moveTo>
                  <a:lnTo>
                    <a:pt x="46" y="191"/>
                  </a:lnTo>
                  <a:lnTo>
                    <a:pt x="47" y="186"/>
                  </a:lnTo>
                  <a:lnTo>
                    <a:pt x="46" y="182"/>
                  </a:lnTo>
                  <a:lnTo>
                    <a:pt x="44" y="178"/>
                  </a:lnTo>
                  <a:lnTo>
                    <a:pt x="39" y="169"/>
                  </a:lnTo>
                  <a:lnTo>
                    <a:pt x="35" y="162"/>
                  </a:lnTo>
                  <a:lnTo>
                    <a:pt x="32" y="152"/>
                  </a:lnTo>
                  <a:lnTo>
                    <a:pt x="30" y="144"/>
                  </a:lnTo>
                  <a:lnTo>
                    <a:pt x="30" y="135"/>
                  </a:lnTo>
                  <a:lnTo>
                    <a:pt x="32" y="127"/>
                  </a:lnTo>
                  <a:lnTo>
                    <a:pt x="35" y="117"/>
                  </a:lnTo>
                  <a:lnTo>
                    <a:pt x="39" y="108"/>
                  </a:lnTo>
                  <a:lnTo>
                    <a:pt x="44" y="101"/>
                  </a:lnTo>
                  <a:lnTo>
                    <a:pt x="50" y="94"/>
                  </a:lnTo>
                  <a:lnTo>
                    <a:pt x="57" y="89"/>
                  </a:lnTo>
                  <a:lnTo>
                    <a:pt x="65" y="85"/>
                  </a:lnTo>
                  <a:lnTo>
                    <a:pt x="73" y="82"/>
                  </a:lnTo>
                  <a:lnTo>
                    <a:pt x="82" y="79"/>
                  </a:lnTo>
                  <a:lnTo>
                    <a:pt x="91" y="78"/>
                  </a:lnTo>
                  <a:lnTo>
                    <a:pt x="101" y="78"/>
                  </a:lnTo>
                  <a:lnTo>
                    <a:pt x="105" y="79"/>
                  </a:lnTo>
                  <a:lnTo>
                    <a:pt x="111" y="77"/>
                  </a:lnTo>
                  <a:lnTo>
                    <a:pt x="114" y="74"/>
                  </a:lnTo>
                  <a:lnTo>
                    <a:pt x="117" y="70"/>
                  </a:lnTo>
                  <a:lnTo>
                    <a:pt x="121" y="61"/>
                  </a:lnTo>
                  <a:lnTo>
                    <a:pt x="126" y="54"/>
                  </a:lnTo>
                  <a:lnTo>
                    <a:pt x="132" y="47"/>
                  </a:lnTo>
                  <a:lnTo>
                    <a:pt x="139" y="41"/>
                  </a:lnTo>
                  <a:lnTo>
                    <a:pt x="147" y="37"/>
                  </a:lnTo>
                  <a:lnTo>
                    <a:pt x="156" y="33"/>
                  </a:lnTo>
                  <a:lnTo>
                    <a:pt x="164" y="31"/>
                  </a:lnTo>
                  <a:lnTo>
                    <a:pt x="174" y="30"/>
                  </a:lnTo>
                  <a:lnTo>
                    <a:pt x="182" y="31"/>
                  </a:lnTo>
                  <a:lnTo>
                    <a:pt x="192" y="33"/>
                  </a:lnTo>
                  <a:lnTo>
                    <a:pt x="199" y="37"/>
                  </a:lnTo>
                  <a:lnTo>
                    <a:pt x="208" y="41"/>
                  </a:lnTo>
                  <a:lnTo>
                    <a:pt x="214" y="47"/>
                  </a:lnTo>
                  <a:lnTo>
                    <a:pt x="221" y="54"/>
                  </a:lnTo>
                  <a:lnTo>
                    <a:pt x="226" y="61"/>
                  </a:lnTo>
                  <a:lnTo>
                    <a:pt x="229" y="70"/>
                  </a:lnTo>
                  <a:lnTo>
                    <a:pt x="233" y="74"/>
                  </a:lnTo>
                  <a:lnTo>
                    <a:pt x="236" y="77"/>
                  </a:lnTo>
                  <a:lnTo>
                    <a:pt x="241" y="79"/>
                  </a:lnTo>
                  <a:lnTo>
                    <a:pt x="246" y="78"/>
                  </a:lnTo>
                  <a:lnTo>
                    <a:pt x="255" y="78"/>
                  </a:lnTo>
                  <a:lnTo>
                    <a:pt x="265" y="79"/>
                  </a:lnTo>
                  <a:lnTo>
                    <a:pt x="273" y="82"/>
                  </a:lnTo>
                  <a:lnTo>
                    <a:pt x="282" y="85"/>
                  </a:lnTo>
                  <a:lnTo>
                    <a:pt x="289" y="89"/>
                  </a:lnTo>
                  <a:lnTo>
                    <a:pt x="297" y="94"/>
                  </a:lnTo>
                  <a:lnTo>
                    <a:pt x="303" y="101"/>
                  </a:lnTo>
                  <a:lnTo>
                    <a:pt x="307" y="108"/>
                  </a:lnTo>
                  <a:lnTo>
                    <a:pt x="312" y="117"/>
                  </a:lnTo>
                  <a:lnTo>
                    <a:pt x="315" y="127"/>
                  </a:lnTo>
                  <a:lnTo>
                    <a:pt x="316" y="135"/>
                  </a:lnTo>
                  <a:lnTo>
                    <a:pt x="316" y="144"/>
                  </a:lnTo>
                  <a:lnTo>
                    <a:pt x="315" y="152"/>
                  </a:lnTo>
                  <a:lnTo>
                    <a:pt x="312" y="162"/>
                  </a:lnTo>
                  <a:lnTo>
                    <a:pt x="307" y="169"/>
                  </a:lnTo>
                  <a:lnTo>
                    <a:pt x="302" y="178"/>
                  </a:lnTo>
                  <a:lnTo>
                    <a:pt x="300" y="182"/>
                  </a:lnTo>
                  <a:lnTo>
                    <a:pt x="299" y="186"/>
                  </a:lnTo>
                  <a:lnTo>
                    <a:pt x="300" y="191"/>
                  </a:lnTo>
                  <a:lnTo>
                    <a:pt x="302" y="196"/>
                  </a:lnTo>
                  <a:lnTo>
                    <a:pt x="307" y="204"/>
                  </a:lnTo>
                  <a:lnTo>
                    <a:pt x="312" y="212"/>
                  </a:lnTo>
                  <a:lnTo>
                    <a:pt x="315" y="221"/>
                  </a:lnTo>
                  <a:lnTo>
                    <a:pt x="316" y="229"/>
                  </a:lnTo>
                  <a:lnTo>
                    <a:pt x="316" y="238"/>
                  </a:lnTo>
                  <a:lnTo>
                    <a:pt x="315" y="247"/>
                  </a:lnTo>
                  <a:lnTo>
                    <a:pt x="312" y="256"/>
                  </a:lnTo>
                  <a:lnTo>
                    <a:pt x="307" y="265"/>
                  </a:lnTo>
                  <a:lnTo>
                    <a:pt x="303" y="272"/>
                  </a:lnTo>
                  <a:lnTo>
                    <a:pt x="297" y="278"/>
                  </a:lnTo>
                  <a:lnTo>
                    <a:pt x="289" y="285"/>
                  </a:lnTo>
                  <a:lnTo>
                    <a:pt x="282" y="289"/>
                  </a:lnTo>
                  <a:lnTo>
                    <a:pt x="273" y="292"/>
                  </a:lnTo>
                  <a:lnTo>
                    <a:pt x="265" y="293"/>
                  </a:lnTo>
                  <a:lnTo>
                    <a:pt x="255" y="295"/>
                  </a:lnTo>
                  <a:lnTo>
                    <a:pt x="246" y="293"/>
                  </a:lnTo>
                  <a:lnTo>
                    <a:pt x="241" y="295"/>
                  </a:lnTo>
                  <a:lnTo>
                    <a:pt x="236" y="296"/>
                  </a:lnTo>
                  <a:lnTo>
                    <a:pt x="233" y="299"/>
                  </a:lnTo>
                  <a:lnTo>
                    <a:pt x="229" y="302"/>
                  </a:lnTo>
                  <a:lnTo>
                    <a:pt x="226" y="311"/>
                  </a:lnTo>
                  <a:lnTo>
                    <a:pt x="221" y="319"/>
                  </a:lnTo>
                  <a:lnTo>
                    <a:pt x="214" y="326"/>
                  </a:lnTo>
                  <a:lnTo>
                    <a:pt x="208" y="331"/>
                  </a:lnTo>
                  <a:lnTo>
                    <a:pt x="199" y="335"/>
                  </a:lnTo>
                  <a:lnTo>
                    <a:pt x="192" y="338"/>
                  </a:lnTo>
                  <a:lnTo>
                    <a:pt x="182" y="341"/>
                  </a:lnTo>
                  <a:lnTo>
                    <a:pt x="174" y="342"/>
                  </a:lnTo>
                  <a:lnTo>
                    <a:pt x="164" y="341"/>
                  </a:lnTo>
                  <a:lnTo>
                    <a:pt x="156" y="338"/>
                  </a:lnTo>
                  <a:lnTo>
                    <a:pt x="147" y="335"/>
                  </a:lnTo>
                  <a:lnTo>
                    <a:pt x="139" y="331"/>
                  </a:lnTo>
                  <a:lnTo>
                    <a:pt x="132" y="326"/>
                  </a:lnTo>
                  <a:lnTo>
                    <a:pt x="126" y="319"/>
                  </a:lnTo>
                  <a:lnTo>
                    <a:pt x="121" y="311"/>
                  </a:lnTo>
                  <a:lnTo>
                    <a:pt x="117" y="302"/>
                  </a:lnTo>
                  <a:lnTo>
                    <a:pt x="115" y="299"/>
                  </a:lnTo>
                  <a:lnTo>
                    <a:pt x="112" y="297"/>
                  </a:lnTo>
                  <a:lnTo>
                    <a:pt x="107" y="295"/>
                  </a:lnTo>
                  <a:lnTo>
                    <a:pt x="103" y="293"/>
                  </a:lnTo>
                  <a:lnTo>
                    <a:pt x="102" y="293"/>
                  </a:lnTo>
                  <a:lnTo>
                    <a:pt x="101" y="293"/>
                  </a:lnTo>
                  <a:lnTo>
                    <a:pt x="91" y="295"/>
                  </a:lnTo>
                  <a:lnTo>
                    <a:pt x="82" y="293"/>
                  </a:lnTo>
                  <a:lnTo>
                    <a:pt x="73" y="292"/>
                  </a:lnTo>
                  <a:lnTo>
                    <a:pt x="65" y="289"/>
                  </a:lnTo>
                  <a:lnTo>
                    <a:pt x="57" y="285"/>
                  </a:lnTo>
                  <a:lnTo>
                    <a:pt x="50" y="278"/>
                  </a:lnTo>
                  <a:lnTo>
                    <a:pt x="44" y="272"/>
                  </a:lnTo>
                  <a:lnTo>
                    <a:pt x="39" y="265"/>
                  </a:lnTo>
                  <a:lnTo>
                    <a:pt x="35" y="256"/>
                  </a:lnTo>
                  <a:lnTo>
                    <a:pt x="32" y="247"/>
                  </a:lnTo>
                  <a:lnTo>
                    <a:pt x="30" y="238"/>
                  </a:lnTo>
                  <a:lnTo>
                    <a:pt x="30" y="229"/>
                  </a:lnTo>
                  <a:lnTo>
                    <a:pt x="32" y="221"/>
                  </a:lnTo>
                  <a:lnTo>
                    <a:pt x="35" y="212"/>
                  </a:lnTo>
                  <a:lnTo>
                    <a:pt x="39" y="204"/>
                  </a:lnTo>
                  <a:lnTo>
                    <a:pt x="44" y="196"/>
                  </a:lnTo>
                  <a:close/>
                  <a:moveTo>
                    <a:pt x="332" y="186"/>
                  </a:moveTo>
                  <a:lnTo>
                    <a:pt x="338" y="176"/>
                  </a:lnTo>
                  <a:lnTo>
                    <a:pt x="343" y="164"/>
                  </a:lnTo>
                  <a:lnTo>
                    <a:pt x="345" y="153"/>
                  </a:lnTo>
                  <a:lnTo>
                    <a:pt x="346" y="140"/>
                  </a:lnTo>
                  <a:lnTo>
                    <a:pt x="346" y="129"/>
                  </a:lnTo>
                  <a:lnTo>
                    <a:pt x="343" y="117"/>
                  </a:lnTo>
                  <a:lnTo>
                    <a:pt x="340" y="105"/>
                  </a:lnTo>
                  <a:lnTo>
                    <a:pt x="334" y="93"/>
                  </a:lnTo>
                  <a:lnTo>
                    <a:pt x="327" y="84"/>
                  </a:lnTo>
                  <a:lnTo>
                    <a:pt x="319" y="74"/>
                  </a:lnTo>
                  <a:lnTo>
                    <a:pt x="310" y="67"/>
                  </a:lnTo>
                  <a:lnTo>
                    <a:pt x="300" y="60"/>
                  </a:lnTo>
                  <a:lnTo>
                    <a:pt x="288" y="55"/>
                  </a:lnTo>
                  <a:lnTo>
                    <a:pt x="278" y="52"/>
                  </a:lnTo>
                  <a:lnTo>
                    <a:pt x="266" y="49"/>
                  </a:lnTo>
                  <a:lnTo>
                    <a:pt x="253" y="48"/>
                  </a:lnTo>
                  <a:lnTo>
                    <a:pt x="246" y="39"/>
                  </a:lnTo>
                  <a:lnTo>
                    <a:pt x="239" y="29"/>
                  </a:lnTo>
                  <a:lnTo>
                    <a:pt x="229" y="21"/>
                  </a:lnTo>
                  <a:lnTo>
                    <a:pt x="220" y="14"/>
                  </a:lnTo>
                  <a:lnTo>
                    <a:pt x="209" y="9"/>
                  </a:lnTo>
                  <a:lnTo>
                    <a:pt x="198" y="5"/>
                  </a:lnTo>
                  <a:lnTo>
                    <a:pt x="185" y="1"/>
                  </a:lnTo>
                  <a:lnTo>
                    <a:pt x="174" y="0"/>
                  </a:lnTo>
                  <a:lnTo>
                    <a:pt x="161" y="1"/>
                  </a:lnTo>
                  <a:lnTo>
                    <a:pt x="149" y="5"/>
                  </a:lnTo>
                  <a:lnTo>
                    <a:pt x="137" y="9"/>
                  </a:lnTo>
                  <a:lnTo>
                    <a:pt x="127" y="14"/>
                  </a:lnTo>
                  <a:lnTo>
                    <a:pt x="117" y="21"/>
                  </a:lnTo>
                  <a:lnTo>
                    <a:pt x="108" y="29"/>
                  </a:lnTo>
                  <a:lnTo>
                    <a:pt x="100" y="39"/>
                  </a:lnTo>
                  <a:lnTo>
                    <a:pt x="93" y="48"/>
                  </a:lnTo>
                  <a:lnTo>
                    <a:pt x="82" y="49"/>
                  </a:lnTo>
                  <a:lnTo>
                    <a:pt x="69" y="52"/>
                  </a:lnTo>
                  <a:lnTo>
                    <a:pt x="58" y="56"/>
                  </a:lnTo>
                  <a:lnTo>
                    <a:pt x="46" y="60"/>
                  </a:lnTo>
                  <a:lnTo>
                    <a:pt x="37" y="67"/>
                  </a:lnTo>
                  <a:lnTo>
                    <a:pt x="27" y="75"/>
                  </a:lnTo>
                  <a:lnTo>
                    <a:pt x="20" y="84"/>
                  </a:lnTo>
                  <a:lnTo>
                    <a:pt x="13" y="93"/>
                  </a:lnTo>
                  <a:lnTo>
                    <a:pt x="7" y="105"/>
                  </a:lnTo>
                  <a:lnTo>
                    <a:pt x="4" y="117"/>
                  </a:lnTo>
                  <a:lnTo>
                    <a:pt x="1" y="129"/>
                  </a:lnTo>
                  <a:lnTo>
                    <a:pt x="0" y="140"/>
                  </a:lnTo>
                  <a:lnTo>
                    <a:pt x="1" y="153"/>
                  </a:lnTo>
                  <a:lnTo>
                    <a:pt x="5" y="164"/>
                  </a:lnTo>
                  <a:lnTo>
                    <a:pt x="8" y="176"/>
                  </a:lnTo>
                  <a:lnTo>
                    <a:pt x="14" y="186"/>
                  </a:lnTo>
                  <a:lnTo>
                    <a:pt x="8" y="198"/>
                  </a:lnTo>
                  <a:lnTo>
                    <a:pt x="5" y="209"/>
                  </a:lnTo>
                  <a:lnTo>
                    <a:pt x="1" y="221"/>
                  </a:lnTo>
                  <a:lnTo>
                    <a:pt x="0" y="232"/>
                  </a:lnTo>
                  <a:lnTo>
                    <a:pt x="1" y="245"/>
                  </a:lnTo>
                  <a:lnTo>
                    <a:pt x="4" y="257"/>
                  </a:lnTo>
                  <a:lnTo>
                    <a:pt x="7" y="269"/>
                  </a:lnTo>
                  <a:lnTo>
                    <a:pt x="13" y="280"/>
                  </a:lnTo>
                  <a:lnTo>
                    <a:pt x="20" y="289"/>
                  </a:lnTo>
                  <a:lnTo>
                    <a:pt x="27" y="298"/>
                  </a:lnTo>
                  <a:lnTo>
                    <a:pt x="36" y="305"/>
                  </a:lnTo>
                  <a:lnTo>
                    <a:pt x="45" y="312"/>
                  </a:lnTo>
                  <a:lnTo>
                    <a:pt x="45" y="546"/>
                  </a:lnTo>
                  <a:lnTo>
                    <a:pt x="46" y="550"/>
                  </a:lnTo>
                  <a:lnTo>
                    <a:pt x="47" y="555"/>
                  </a:lnTo>
                  <a:lnTo>
                    <a:pt x="51" y="558"/>
                  </a:lnTo>
                  <a:lnTo>
                    <a:pt x="54" y="559"/>
                  </a:lnTo>
                  <a:lnTo>
                    <a:pt x="58" y="561"/>
                  </a:lnTo>
                  <a:lnTo>
                    <a:pt x="62" y="561"/>
                  </a:lnTo>
                  <a:lnTo>
                    <a:pt x="66" y="560"/>
                  </a:lnTo>
                  <a:lnTo>
                    <a:pt x="70" y="558"/>
                  </a:lnTo>
                  <a:lnTo>
                    <a:pt x="181" y="475"/>
                  </a:lnTo>
                  <a:lnTo>
                    <a:pt x="292" y="558"/>
                  </a:lnTo>
                  <a:lnTo>
                    <a:pt x="294" y="560"/>
                  </a:lnTo>
                  <a:lnTo>
                    <a:pt x="297" y="560"/>
                  </a:lnTo>
                  <a:lnTo>
                    <a:pt x="299" y="561"/>
                  </a:lnTo>
                  <a:lnTo>
                    <a:pt x="301" y="561"/>
                  </a:lnTo>
                  <a:lnTo>
                    <a:pt x="304" y="561"/>
                  </a:lnTo>
                  <a:lnTo>
                    <a:pt x="307" y="559"/>
                  </a:lnTo>
                  <a:lnTo>
                    <a:pt x="311" y="558"/>
                  </a:lnTo>
                  <a:lnTo>
                    <a:pt x="314" y="555"/>
                  </a:lnTo>
                  <a:lnTo>
                    <a:pt x="315" y="550"/>
                  </a:lnTo>
                  <a:lnTo>
                    <a:pt x="316" y="546"/>
                  </a:lnTo>
                  <a:lnTo>
                    <a:pt x="316" y="301"/>
                  </a:lnTo>
                  <a:lnTo>
                    <a:pt x="326" y="291"/>
                  </a:lnTo>
                  <a:lnTo>
                    <a:pt x="334" y="280"/>
                  </a:lnTo>
                  <a:lnTo>
                    <a:pt x="340" y="269"/>
                  </a:lnTo>
                  <a:lnTo>
                    <a:pt x="343" y="257"/>
                  </a:lnTo>
                  <a:lnTo>
                    <a:pt x="346" y="245"/>
                  </a:lnTo>
                  <a:lnTo>
                    <a:pt x="346" y="232"/>
                  </a:lnTo>
                  <a:lnTo>
                    <a:pt x="345" y="221"/>
                  </a:lnTo>
                  <a:lnTo>
                    <a:pt x="343" y="209"/>
                  </a:lnTo>
                  <a:lnTo>
                    <a:pt x="338" y="198"/>
                  </a:lnTo>
                  <a:lnTo>
                    <a:pt x="332" y="1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3" name="Picture 2" descr="A picture containing logo&#10;&#10;Description automatically generated">
            <a:extLst>
              <a:ext uri="{FF2B5EF4-FFF2-40B4-BE49-F238E27FC236}">
                <a16:creationId xmlns:a16="http://schemas.microsoft.com/office/drawing/2014/main" id="{4EF32189-D256-4187-9BBA-917A067202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6699" y="159658"/>
            <a:ext cx="12302671" cy="6858000"/>
          </a:xfrm>
          <a:prstGeom prst="rect">
            <a:avLst/>
          </a:prstGeom>
        </p:spPr>
      </p:pic>
    </p:spTree>
    <p:extLst>
      <p:ext uri="{BB962C8B-B14F-4D97-AF65-F5344CB8AC3E}">
        <p14:creationId xmlns:p14="http://schemas.microsoft.com/office/powerpoint/2010/main" val="33077471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AADD15-EF19-4140-88C7-FA18D3670B4A}"/>
              </a:ext>
            </a:extLst>
          </p:cNvPr>
          <p:cNvSpPr txBox="1"/>
          <p:nvPr/>
        </p:nvSpPr>
        <p:spPr>
          <a:xfrm>
            <a:off x="431800" y="257235"/>
            <a:ext cx="11328400" cy="738664"/>
          </a:xfrm>
          <a:prstGeom prst="rect">
            <a:avLst/>
          </a:prstGeom>
          <a:noFill/>
        </p:spPr>
        <p:txBody>
          <a:bodyPr wrap="square" lIns="0" tIns="0" rIns="0" bIns="0" rtlCol="0" anchor="t">
            <a:spAutoFit/>
          </a:bodyPr>
          <a:lstStyle/>
          <a:p>
            <a:pPr algn="ctr"/>
            <a:r>
              <a:rPr lang="en-US" sz="4800" dirty="0">
                <a:solidFill>
                  <a:schemeClr val="tx2"/>
                </a:solidFill>
                <a:latin typeface="+mj-lt"/>
              </a:rPr>
              <a:t>Preprocessing Smoting Technique</a:t>
            </a:r>
          </a:p>
        </p:txBody>
      </p:sp>
      <p:grpSp>
        <p:nvGrpSpPr>
          <p:cNvPr id="5" name="Group 4">
            <a:extLst>
              <a:ext uri="{FF2B5EF4-FFF2-40B4-BE49-F238E27FC236}">
                <a16:creationId xmlns:a16="http://schemas.microsoft.com/office/drawing/2014/main" id="{D903D880-2121-4AF1-AB91-4DE7F5B28CF3}"/>
              </a:ext>
            </a:extLst>
          </p:cNvPr>
          <p:cNvGrpSpPr/>
          <p:nvPr/>
        </p:nvGrpSpPr>
        <p:grpSpPr>
          <a:xfrm>
            <a:off x="5319855" y="6478321"/>
            <a:ext cx="1552291" cy="121183"/>
            <a:chOff x="4665436" y="4689691"/>
            <a:chExt cx="2415114" cy="121183"/>
          </a:xfrm>
        </p:grpSpPr>
        <p:sp>
          <p:nvSpPr>
            <p:cNvPr id="6" name="Rectangle: Rounded Corners 5">
              <a:extLst>
                <a:ext uri="{FF2B5EF4-FFF2-40B4-BE49-F238E27FC236}">
                  <a16:creationId xmlns:a16="http://schemas.microsoft.com/office/drawing/2014/main" id="{BC7BF908-FDDB-4BF7-BD98-0F1BBFA71B88}"/>
                </a:ext>
              </a:extLst>
            </p:cNvPr>
            <p:cNvSpPr/>
            <p:nvPr/>
          </p:nvSpPr>
          <p:spPr>
            <a:xfrm>
              <a:off x="4665436" y="4689691"/>
              <a:ext cx="1075758" cy="121183"/>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Rounded Corners 6">
              <a:extLst>
                <a:ext uri="{FF2B5EF4-FFF2-40B4-BE49-F238E27FC236}">
                  <a16:creationId xmlns:a16="http://schemas.microsoft.com/office/drawing/2014/main" id="{B1F27A12-06B2-470B-96A1-37F027DD98F8}"/>
                </a:ext>
              </a:extLst>
            </p:cNvPr>
            <p:cNvSpPr/>
            <p:nvPr/>
          </p:nvSpPr>
          <p:spPr>
            <a:xfrm>
              <a:off x="6004792" y="4689691"/>
              <a:ext cx="1075758" cy="121183"/>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Date Placeholder 7">
            <a:extLst>
              <a:ext uri="{FF2B5EF4-FFF2-40B4-BE49-F238E27FC236}">
                <a16:creationId xmlns:a16="http://schemas.microsoft.com/office/drawing/2014/main" id="{ED17E5F7-A895-4DA2-9E2E-33870877DB5B}"/>
              </a:ext>
            </a:extLst>
          </p:cNvPr>
          <p:cNvSpPr>
            <a:spLocks noGrp="1"/>
          </p:cNvSpPr>
          <p:nvPr>
            <p:ph type="dt" sz="half" idx="10"/>
          </p:nvPr>
        </p:nvSpPr>
        <p:spPr>
          <a:xfrm>
            <a:off x="838200" y="63563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0B399E3-31DF-49D3-B858-F8F109171C56}" type="datetimeFigureOut">
              <a:rPr lang="en-US" smtClean="0"/>
              <a:pPr/>
              <a:t>3/25/2021</a:t>
            </a:fld>
            <a:endParaRPr lang="en-US"/>
          </a:p>
        </p:txBody>
      </p:sp>
      <p:sp>
        <p:nvSpPr>
          <p:cNvPr id="9" name="Slide Number Placeholder 8">
            <a:extLst>
              <a:ext uri="{FF2B5EF4-FFF2-40B4-BE49-F238E27FC236}">
                <a16:creationId xmlns:a16="http://schemas.microsoft.com/office/drawing/2014/main" id="{DAA389C8-B2EE-4FCB-A752-D81FA60401A6}"/>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794E2DD-4F38-4D2A-97E5-5D7467AA1DEC}" type="slidenum">
              <a:rPr lang="en-US" smtClean="0"/>
              <a:pPr/>
              <a:t>15</a:t>
            </a:fld>
            <a:endParaRPr lang="en-US"/>
          </a:p>
        </p:txBody>
      </p:sp>
      <p:graphicFrame>
        <p:nvGraphicFramePr>
          <p:cNvPr id="14" name="Table 13">
            <a:extLst>
              <a:ext uri="{FF2B5EF4-FFF2-40B4-BE49-F238E27FC236}">
                <a16:creationId xmlns:a16="http://schemas.microsoft.com/office/drawing/2014/main" id="{EBB3C1F1-DF07-4C8A-AEA1-38BF40813A1F}"/>
              </a:ext>
            </a:extLst>
          </p:cNvPr>
          <p:cNvGraphicFramePr>
            <a:graphicFrameLocks noGrp="1"/>
          </p:cNvGraphicFramePr>
          <p:nvPr>
            <p:extLst>
              <p:ext uri="{D42A27DB-BD31-4B8C-83A1-F6EECF244321}">
                <p14:modId xmlns:p14="http://schemas.microsoft.com/office/powerpoint/2010/main" val="1306346246"/>
              </p:ext>
            </p:extLst>
          </p:nvPr>
        </p:nvGraphicFramePr>
        <p:xfrm>
          <a:off x="596002" y="1209776"/>
          <a:ext cx="10260684" cy="4209612"/>
        </p:xfrm>
        <a:graphic>
          <a:graphicData uri="http://schemas.openxmlformats.org/drawingml/2006/table">
            <a:tbl>
              <a:tblPr firstRow="1" bandRow="1">
                <a:tableStyleId>{5C22544A-7EE6-4342-B048-85BDC9FD1C3A}</a:tableStyleId>
              </a:tblPr>
              <a:tblGrid>
                <a:gridCol w="5130342">
                  <a:extLst>
                    <a:ext uri="{9D8B030D-6E8A-4147-A177-3AD203B41FA5}">
                      <a16:colId xmlns:a16="http://schemas.microsoft.com/office/drawing/2014/main" val="2564411398"/>
                    </a:ext>
                  </a:extLst>
                </a:gridCol>
                <a:gridCol w="5130342">
                  <a:extLst>
                    <a:ext uri="{9D8B030D-6E8A-4147-A177-3AD203B41FA5}">
                      <a16:colId xmlns:a16="http://schemas.microsoft.com/office/drawing/2014/main" val="2851696159"/>
                    </a:ext>
                  </a:extLst>
                </a:gridCol>
              </a:tblGrid>
              <a:tr h="670437">
                <a:tc>
                  <a:txBody>
                    <a:bodyPr/>
                    <a:lstStyle/>
                    <a:p>
                      <a:pPr algn="ctr"/>
                      <a:endParaRPr lang="en-US" dirty="0"/>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dirty="0"/>
                        <a:t>Dat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8385598"/>
                  </a:ext>
                </a:extLst>
              </a:tr>
              <a:tr h="1954338">
                <a:tc>
                  <a:txBody>
                    <a:bodyPr/>
                    <a:lstStyle/>
                    <a:p>
                      <a:pPr algn="ctr"/>
                      <a:r>
                        <a:rPr lang="en-US" sz="1400" dirty="0">
                          <a:solidFill>
                            <a:schemeClr val="bg1"/>
                          </a:solidFill>
                        </a:rPr>
                        <a:t>Before Smoting Stroke</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dirty="0"/>
                        <a:t>1=249</a:t>
                      </a:r>
                    </a:p>
                    <a:p>
                      <a:pPr algn="ctr"/>
                      <a:r>
                        <a:rPr lang="en-US" dirty="0"/>
                        <a:t>0=4861</a:t>
                      </a:r>
                    </a:p>
                    <a:p>
                      <a:pPr algn="ctr"/>
                      <a:endParaRPr lang="en-US"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728516819"/>
                  </a:ext>
                </a:extLst>
              </a:tr>
              <a:tr h="670437">
                <a:tc>
                  <a:txBody>
                    <a:bodyPr/>
                    <a:lstStyle/>
                    <a:p>
                      <a:pPr algn="ctr"/>
                      <a:r>
                        <a:rPr lang="en-US" sz="1400" dirty="0">
                          <a:solidFill>
                            <a:schemeClr val="bg1"/>
                          </a:solidFill>
                        </a:rPr>
                        <a:t>After Smoting Stroke</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dirty="0"/>
                        <a:t>1=4861</a:t>
                      </a:r>
                    </a:p>
                    <a:p>
                      <a:pPr algn="ctr"/>
                      <a:r>
                        <a:rPr lang="en-US" dirty="0"/>
                        <a:t>0=4861</a:t>
                      </a:r>
                    </a:p>
                    <a:p>
                      <a:pPr algn="ctr"/>
                      <a:endParaRPr lang="en-US"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926273471"/>
                  </a:ext>
                </a:extLst>
              </a:tr>
              <a:tr h="670437">
                <a:tc>
                  <a:txBody>
                    <a:bodyPr/>
                    <a:lstStyle/>
                    <a:p>
                      <a:pPr algn="ctr"/>
                      <a:r>
                        <a:rPr lang="en-US" sz="1400" dirty="0">
                          <a:solidFill>
                            <a:schemeClr val="bg1"/>
                          </a:solidFill>
                        </a:rPr>
                        <a:t>Shape of train data</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dirty="0"/>
                        <a:t>     X= (9722,10)</a:t>
                      </a:r>
                    </a:p>
                    <a:p>
                      <a:pPr algn="ctr"/>
                      <a:r>
                        <a:rPr lang="en-US" dirty="0"/>
                        <a:t>Y=(9722)</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674212300"/>
                  </a:ext>
                </a:extLst>
              </a:tr>
            </a:tbl>
          </a:graphicData>
        </a:graphic>
      </p:graphicFrame>
    </p:spTree>
    <p:extLst>
      <p:ext uri="{BB962C8B-B14F-4D97-AF65-F5344CB8AC3E}">
        <p14:creationId xmlns:p14="http://schemas.microsoft.com/office/powerpoint/2010/main" val="34134635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Freeform: Shape 32">
            <a:extLst>
              <a:ext uri="{FF2B5EF4-FFF2-40B4-BE49-F238E27FC236}">
                <a16:creationId xmlns:a16="http://schemas.microsoft.com/office/drawing/2014/main" id="{A252347A-73EF-4021-A502-2D02F6F1D190}"/>
              </a:ext>
            </a:extLst>
          </p:cNvPr>
          <p:cNvSpPr/>
          <p:nvPr/>
        </p:nvSpPr>
        <p:spPr>
          <a:xfrm rot="10800000">
            <a:off x="7082970" y="1"/>
            <a:ext cx="5109029" cy="869388"/>
          </a:xfrm>
          <a:custGeom>
            <a:avLst/>
            <a:gdLst>
              <a:gd name="connsiteX0" fmla="*/ 1310303 w 10988503"/>
              <a:gd name="connsiteY0" fmla="*/ 22 h 1869882"/>
              <a:gd name="connsiteX1" fmla="*/ 6483550 w 10988503"/>
              <a:gd name="connsiteY1" fmla="*/ 1580690 h 1869882"/>
              <a:gd name="connsiteX2" fmla="*/ 10974880 w 10988503"/>
              <a:gd name="connsiteY2" fmla="*/ 1866382 h 1869882"/>
              <a:gd name="connsiteX3" fmla="*/ 10988503 w 10988503"/>
              <a:gd name="connsiteY3" fmla="*/ 1869882 h 1869882"/>
              <a:gd name="connsiteX4" fmla="*/ 0 w 10988503"/>
              <a:gd name="connsiteY4" fmla="*/ 1869882 h 1869882"/>
              <a:gd name="connsiteX5" fmla="*/ 0 w 10988503"/>
              <a:gd name="connsiteY5" fmla="*/ 1794198 h 1869882"/>
              <a:gd name="connsiteX6" fmla="*/ 0 w 10988503"/>
              <a:gd name="connsiteY6" fmla="*/ 334669 h 1869882"/>
              <a:gd name="connsiteX7" fmla="*/ 1310303 w 10988503"/>
              <a:gd name="connsiteY7" fmla="*/ 22 h 186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88503" h="1869882">
                <a:moveTo>
                  <a:pt x="1310303" y="22"/>
                </a:moveTo>
                <a:cubicBezTo>
                  <a:pt x="3087798" y="-7336"/>
                  <a:pt x="4449871" y="1761474"/>
                  <a:pt x="6483550" y="1580690"/>
                </a:cubicBezTo>
                <a:cubicBezTo>
                  <a:pt x="8348226" y="1415442"/>
                  <a:pt x="9844847" y="1591559"/>
                  <a:pt x="10974880" y="1866382"/>
                </a:cubicBezTo>
                <a:lnTo>
                  <a:pt x="10988503" y="1869882"/>
                </a:lnTo>
                <a:lnTo>
                  <a:pt x="0" y="1869882"/>
                </a:lnTo>
                <a:lnTo>
                  <a:pt x="0" y="1794198"/>
                </a:lnTo>
                <a:cubicBezTo>
                  <a:pt x="0" y="1432462"/>
                  <a:pt x="0" y="957720"/>
                  <a:pt x="0" y="334669"/>
                </a:cubicBezTo>
                <a:cubicBezTo>
                  <a:pt x="467797" y="98006"/>
                  <a:pt x="900111" y="1719"/>
                  <a:pt x="1310303" y="22"/>
                </a:cubicBezTo>
                <a:close/>
              </a:path>
            </a:pathLst>
          </a:custGeom>
          <a:gradFill>
            <a:gsLst>
              <a:gs pos="0">
                <a:srgbClr val="393762"/>
              </a:gs>
              <a:gs pos="50000">
                <a:srgbClr val="C779D0"/>
              </a:gs>
              <a:gs pos="100000">
                <a:srgbClr val="E4859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a:extLst>
              <a:ext uri="{FF2B5EF4-FFF2-40B4-BE49-F238E27FC236}">
                <a16:creationId xmlns:a16="http://schemas.microsoft.com/office/drawing/2014/main" id="{5C67D406-5165-4360-8C1C-324029DCCE25}"/>
              </a:ext>
            </a:extLst>
          </p:cNvPr>
          <p:cNvSpPr txBox="1"/>
          <p:nvPr/>
        </p:nvSpPr>
        <p:spPr>
          <a:xfrm>
            <a:off x="266700" y="337269"/>
            <a:ext cx="11658600" cy="553998"/>
          </a:xfrm>
          <a:prstGeom prst="rect">
            <a:avLst/>
          </a:prstGeom>
          <a:noFill/>
        </p:spPr>
        <p:txBody>
          <a:bodyPr wrap="square" lIns="0" tIns="0" rIns="0" bIns="0" rtlCol="0" anchor="t">
            <a:spAutoFit/>
          </a:bodyPr>
          <a:lstStyle/>
          <a:p>
            <a:pPr algn="ctr"/>
            <a:r>
              <a:rPr lang="en-US" sz="3600" b="1" dirty="0">
                <a:solidFill>
                  <a:schemeClr val="tx1">
                    <a:lumMod val="75000"/>
                    <a:lumOff val="25000"/>
                  </a:schemeClr>
                </a:solidFill>
                <a:latin typeface="+mj-lt"/>
                <a:ea typeface="Segoe UI Black" panose="020B0A02040204020203" pitchFamily="34" charset="0"/>
                <a:cs typeface="Segoe UI" panose="020B0502040204020203" pitchFamily="34" charset="0"/>
              </a:rPr>
              <a:t>ROC curve</a:t>
            </a:r>
            <a:endParaRPr lang="en-US" sz="3600" dirty="0">
              <a:solidFill>
                <a:schemeClr val="tx1">
                  <a:lumMod val="75000"/>
                  <a:lumOff val="25000"/>
                </a:schemeClr>
              </a:solidFill>
              <a:latin typeface="+mj-lt"/>
              <a:ea typeface="Segoe UI Black" panose="020B0A02040204020203" pitchFamily="34" charset="0"/>
              <a:cs typeface="Segoe UI" panose="020B0502040204020203" pitchFamily="34" charset="0"/>
            </a:endParaRPr>
          </a:p>
        </p:txBody>
      </p:sp>
      <p:sp>
        <p:nvSpPr>
          <p:cNvPr id="51" name="Date Placeholder 50">
            <a:extLst>
              <a:ext uri="{FF2B5EF4-FFF2-40B4-BE49-F238E27FC236}">
                <a16:creationId xmlns:a16="http://schemas.microsoft.com/office/drawing/2014/main" id="{7503AC9C-2A15-4763-9BD1-8EE7F5EB1B56}"/>
              </a:ext>
            </a:extLst>
          </p:cNvPr>
          <p:cNvSpPr>
            <a:spLocks noGrp="1"/>
          </p:cNvSpPr>
          <p:nvPr>
            <p:ph type="dt" sz="half" idx="10"/>
          </p:nvPr>
        </p:nvSpPr>
        <p:spPr/>
        <p:txBody>
          <a:bodyPr/>
          <a:lstStyle/>
          <a:p>
            <a:fld id="{581601AE-D121-467F-9CAE-E6980EB143C1}" type="datetime1">
              <a:rPr lang="en-US" smtClean="0">
                <a:solidFill>
                  <a:schemeClr val="tx1"/>
                </a:solidFill>
              </a:rPr>
              <a:t>3/25/2021</a:t>
            </a:fld>
            <a:endParaRPr lang="en-US">
              <a:solidFill>
                <a:schemeClr val="tx1"/>
              </a:solidFill>
            </a:endParaRPr>
          </a:p>
        </p:txBody>
      </p:sp>
      <p:sp>
        <p:nvSpPr>
          <p:cNvPr id="52" name="Slide Number Placeholder 51">
            <a:extLst>
              <a:ext uri="{FF2B5EF4-FFF2-40B4-BE49-F238E27FC236}">
                <a16:creationId xmlns:a16="http://schemas.microsoft.com/office/drawing/2014/main" id="{0E138C45-4489-4E6D-BF08-27D313165EAD}"/>
              </a:ext>
            </a:extLst>
          </p:cNvPr>
          <p:cNvSpPr>
            <a:spLocks noGrp="1"/>
          </p:cNvSpPr>
          <p:nvPr>
            <p:ph type="sldNum" sz="quarter" idx="12"/>
          </p:nvPr>
        </p:nvSpPr>
        <p:spPr/>
        <p:txBody>
          <a:bodyPr/>
          <a:lstStyle/>
          <a:p>
            <a:fld id="{2B5E5E57-0193-45F1-AA6D-ABE38BBADBB1}" type="slidenum">
              <a:rPr lang="en-US" smtClean="0">
                <a:solidFill>
                  <a:schemeClr val="tx1"/>
                </a:solidFill>
              </a:rPr>
              <a:t>16</a:t>
            </a:fld>
            <a:endParaRPr lang="en-US">
              <a:solidFill>
                <a:schemeClr val="tx1"/>
              </a:solidFill>
            </a:endParaRPr>
          </a:p>
        </p:txBody>
      </p:sp>
      <p:sp>
        <p:nvSpPr>
          <p:cNvPr id="39" name="TextBox 38">
            <a:extLst>
              <a:ext uri="{FF2B5EF4-FFF2-40B4-BE49-F238E27FC236}">
                <a16:creationId xmlns:a16="http://schemas.microsoft.com/office/drawing/2014/main" id="{58E8D315-E202-43FC-A27E-92E19B172E3A}"/>
              </a:ext>
            </a:extLst>
          </p:cNvPr>
          <p:cNvSpPr txBox="1"/>
          <p:nvPr/>
        </p:nvSpPr>
        <p:spPr>
          <a:xfrm>
            <a:off x="8033428" y="3189438"/>
            <a:ext cx="3663952" cy="1477328"/>
          </a:xfrm>
          <a:prstGeom prst="rect">
            <a:avLst/>
          </a:prstGeom>
          <a:noFill/>
          <a:ln>
            <a:noFill/>
          </a:ln>
        </p:spPr>
        <p:txBody>
          <a:bodyPr wrap="square" lIns="0" tIns="0" rIns="0" bIns="0" rtlCol="0" anchor="t">
            <a:spAutoFit/>
          </a:bodyPr>
          <a:lstStyle/>
          <a:p>
            <a:pPr algn="ctr">
              <a:buClr>
                <a:schemeClr val="accent1"/>
              </a:buClr>
            </a:pPr>
            <a:r>
              <a:rPr lang="en-US" sz="1600" i="1" dirty="0"/>
              <a:t>The three models that I have used for this project are </a:t>
            </a:r>
          </a:p>
          <a:p>
            <a:pPr algn="ctr">
              <a:buClr>
                <a:schemeClr val="accent1"/>
              </a:buClr>
            </a:pPr>
            <a:r>
              <a:rPr lang="en-US" sz="1600" i="1" dirty="0"/>
              <a:t>Logistic Regression</a:t>
            </a:r>
          </a:p>
          <a:p>
            <a:pPr algn="ctr">
              <a:buClr>
                <a:schemeClr val="accent1"/>
              </a:buClr>
            </a:pPr>
            <a:r>
              <a:rPr lang="en-US" sz="1600" i="1" dirty="0"/>
              <a:t>Naïve Bayes</a:t>
            </a:r>
          </a:p>
          <a:p>
            <a:pPr algn="ctr">
              <a:buClr>
                <a:schemeClr val="accent1"/>
              </a:buClr>
            </a:pPr>
            <a:r>
              <a:rPr lang="en-US" sz="1600" i="1" dirty="0"/>
              <a:t>SVM</a:t>
            </a:r>
          </a:p>
          <a:p>
            <a:pPr algn="ctr">
              <a:buClr>
                <a:schemeClr val="accent1"/>
              </a:buClr>
            </a:pPr>
            <a:endParaRPr lang="en-US" sz="1600" i="1" dirty="0"/>
          </a:p>
        </p:txBody>
      </p:sp>
      <p:pic>
        <p:nvPicPr>
          <p:cNvPr id="8" name="Picture 7" descr="Diagram&#10;&#10;Description automatically generated with low confidence">
            <a:extLst>
              <a:ext uri="{FF2B5EF4-FFF2-40B4-BE49-F238E27FC236}">
                <a16:creationId xmlns:a16="http://schemas.microsoft.com/office/drawing/2014/main" id="{AFD000CF-872B-4944-B791-B0033EEE151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7637" y="729155"/>
            <a:ext cx="8880723" cy="6858000"/>
          </a:xfrm>
          <a:prstGeom prst="rect">
            <a:avLst/>
          </a:prstGeom>
        </p:spPr>
      </p:pic>
    </p:spTree>
    <p:extLst>
      <p:ext uri="{BB962C8B-B14F-4D97-AF65-F5344CB8AC3E}">
        <p14:creationId xmlns:p14="http://schemas.microsoft.com/office/powerpoint/2010/main" val="4277482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AADD15-EF19-4140-88C7-FA18D3670B4A}"/>
              </a:ext>
            </a:extLst>
          </p:cNvPr>
          <p:cNvSpPr txBox="1"/>
          <p:nvPr/>
        </p:nvSpPr>
        <p:spPr>
          <a:xfrm>
            <a:off x="431800" y="258496"/>
            <a:ext cx="11328400" cy="738664"/>
          </a:xfrm>
          <a:prstGeom prst="rect">
            <a:avLst/>
          </a:prstGeom>
          <a:noFill/>
        </p:spPr>
        <p:txBody>
          <a:bodyPr wrap="square" lIns="0" tIns="0" rIns="0" bIns="0" rtlCol="0" anchor="t">
            <a:spAutoFit/>
          </a:bodyPr>
          <a:lstStyle/>
          <a:p>
            <a:pPr algn="ctr"/>
            <a:r>
              <a:rPr lang="en-US" sz="4800" dirty="0">
                <a:solidFill>
                  <a:schemeClr val="tx2"/>
                </a:solidFill>
                <a:latin typeface="+mj-lt"/>
              </a:rPr>
              <a:t>Results</a:t>
            </a:r>
          </a:p>
        </p:txBody>
      </p:sp>
      <p:grpSp>
        <p:nvGrpSpPr>
          <p:cNvPr id="5" name="Group 4">
            <a:extLst>
              <a:ext uri="{FF2B5EF4-FFF2-40B4-BE49-F238E27FC236}">
                <a16:creationId xmlns:a16="http://schemas.microsoft.com/office/drawing/2014/main" id="{D903D880-2121-4AF1-AB91-4DE7F5B28CF3}"/>
              </a:ext>
            </a:extLst>
          </p:cNvPr>
          <p:cNvGrpSpPr/>
          <p:nvPr/>
        </p:nvGrpSpPr>
        <p:grpSpPr>
          <a:xfrm>
            <a:off x="5319855" y="6478321"/>
            <a:ext cx="1552291" cy="121183"/>
            <a:chOff x="4665436" y="4689691"/>
            <a:chExt cx="2415114" cy="121183"/>
          </a:xfrm>
        </p:grpSpPr>
        <p:sp>
          <p:nvSpPr>
            <p:cNvPr id="6" name="Rectangle: Rounded Corners 5">
              <a:extLst>
                <a:ext uri="{FF2B5EF4-FFF2-40B4-BE49-F238E27FC236}">
                  <a16:creationId xmlns:a16="http://schemas.microsoft.com/office/drawing/2014/main" id="{BC7BF908-FDDB-4BF7-BD98-0F1BBFA71B88}"/>
                </a:ext>
              </a:extLst>
            </p:cNvPr>
            <p:cNvSpPr/>
            <p:nvPr/>
          </p:nvSpPr>
          <p:spPr>
            <a:xfrm>
              <a:off x="4665436" y="4689691"/>
              <a:ext cx="1075758" cy="121183"/>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Rounded Corners 6">
              <a:extLst>
                <a:ext uri="{FF2B5EF4-FFF2-40B4-BE49-F238E27FC236}">
                  <a16:creationId xmlns:a16="http://schemas.microsoft.com/office/drawing/2014/main" id="{B1F27A12-06B2-470B-96A1-37F027DD98F8}"/>
                </a:ext>
              </a:extLst>
            </p:cNvPr>
            <p:cNvSpPr/>
            <p:nvPr/>
          </p:nvSpPr>
          <p:spPr>
            <a:xfrm>
              <a:off x="6004792" y="4689691"/>
              <a:ext cx="1075758" cy="121183"/>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Date Placeholder 7">
            <a:extLst>
              <a:ext uri="{FF2B5EF4-FFF2-40B4-BE49-F238E27FC236}">
                <a16:creationId xmlns:a16="http://schemas.microsoft.com/office/drawing/2014/main" id="{ED17E5F7-A895-4DA2-9E2E-33870877DB5B}"/>
              </a:ext>
            </a:extLst>
          </p:cNvPr>
          <p:cNvSpPr>
            <a:spLocks noGrp="1"/>
          </p:cNvSpPr>
          <p:nvPr>
            <p:ph type="dt" sz="half" idx="10"/>
          </p:nvPr>
        </p:nvSpPr>
        <p:spPr>
          <a:xfrm>
            <a:off x="838200" y="63563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0B399E3-31DF-49D3-B858-F8F109171C56}" type="datetimeFigureOut">
              <a:rPr lang="en-US" smtClean="0"/>
              <a:pPr/>
              <a:t>3/25/2021</a:t>
            </a:fld>
            <a:endParaRPr lang="en-US"/>
          </a:p>
        </p:txBody>
      </p:sp>
      <p:sp>
        <p:nvSpPr>
          <p:cNvPr id="9" name="Slide Number Placeholder 8">
            <a:extLst>
              <a:ext uri="{FF2B5EF4-FFF2-40B4-BE49-F238E27FC236}">
                <a16:creationId xmlns:a16="http://schemas.microsoft.com/office/drawing/2014/main" id="{DAA389C8-B2EE-4FCB-A752-D81FA60401A6}"/>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794E2DD-4F38-4D2A-97E5-5D7467AA1DEC}" type="slidenum">
              <a:rPr lang="en-US" smtClean="0"/>
              <a:pPr/>
              <a:t>17</a:t>
            </a:fld>
            <a:endParaRPr lang="en-US"/>
          </a:p>
        </p:txBody>
      </p:sp>
      <p:graphicFrame>
        <p:nvGraphicFramePr>
          <p:cNvPr id="14" name="Table 13">
            <a:extLst>
              <a:ext uri="{FF2B5EF4-FFF2-40B4-BE49-F238E27FC236}">
                <a16:creationId xmlns:a16="http://schemas.microsoft.com/office/drawing/2014/main" id="{EBB3C1F1-DF07-4C8A-AEA1-38BF40813A1F}"/>
              </a:ext>
            </a:extLst>
          </p:cNvPr>
          <p:cNvGraphicFramePr>
            <a:graphicFrameLocks noGrp="1"/>
          </p:cNvGraphicFramePr>
          <p:nvPr>
            <p:extLst>
              <p:ext uri="{D42A27DB-BD31-4B8C-83A1-F6EECF244321}">
                <p14:modId xmlns:p14="http://schemas.microsoft.com/office/powerpoint/2010/main" val="3752266130"/>
              </p:ext>
            </p:extLst>
          </p:nvPr>
        </p:nvGraphicFramePr>
        <p:xfrm>
          <a:off x="514350" y="1209776"/>
          <a:ext cx="10269765" cy="2925711"/>
        </p:xfrm>
        <a:graphic>
          <a:graphicData uri="http://schemas.openxmlformats.org/drawingml/2006/table">
            <a:tbl>
              <a:tblPr firstRow="1" bandRow="1">
                <a:tableStyleId>{5C22544A-7EE6-4342-B048-85BDC9FD1C3A}</a:tableStyleId>
              </a:tblPr>
              <a:tblGrid>
                <a:gridCol w="2053953">
                  <a:extLst>
                    <a:ext uri="{9D8B030D-6E8A-4147-A177-3AD203B41FA5}">
                      <a16:colId xmlns:a16="http://schemas.microsoft.com/office/drawing/2014/main" val="2564411398"/>
                    </a:ext>
                  </a:extLst>
                </a:gridCol>
                <a:gridCol w="2053953">
                  <a:extLst>
                    <a:ext uri="{9D8B030D-6E8A-4147-A177-3AD203B41FA5}">
                      <a16:colId xmlns:a16="http://schemas.microsoft.com/office/drawing/2014/main" val="2851696159"/>
                    </a:ext>
                  </a:extLst>
                </a:gridCol>
                <a:gridCol w="2053953">
                  <a:extLst>
                    <a:ext uri="{9D8B030D-6E8A-4147-A177-3AD203B41FA5}">
                      <a16:colId xmlns:a16="http://schemas.microsoft.com/office/drawing/2014/main" val="1005280288"/>
                    </a:ext>
                  </a:extLst>
                </a:gridCol>
                <a:gridCol w="2053953">
                  <a:extLst>
                    <a:ext uri="{9D8B030D-6E8A-4147-A177-3AD203B41FA5}">
                      <a16:colId xmlns:a16="http://schemas.microsoft.com/office/drawing/2014/main" val="796509677"/>
                    </a:ext>
                  </a:extLst>
                </a:gridCol>
                <a:gridCol w="2053953">
                  <a:extLst>
                    <a:ext uri="{9D8B030D-6E8A-4147-A177-3AD203B41FA5}">
                      <a16:colId xmlns:a16="http://schemas.microsoft.com/office/drawing/2014/main" val="576146675"/>
                    </a:ext>
                  </a:extLst>
                </a:gridCol>
              </a:tblGrid>
              <a:tr h="670437">
                <a:tc>
                  <a:txBody>
                    <a:bodyPr/>
                    <a:lstStyle/>
                    <a:p>
                      <a:pPr algn="ctr"/>
                      <a:endParaRPr lang="en-US" dirty="0"/>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dirty="0"/>
                        <a:t>Precision</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dirty="0"/>
                        <a:t>Recall</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dirty="0"/>
                        <a:t>Accuracy</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dirty="0"/>
                        <a:t>Fl score</a:t>
                      </a:r>
                    </a:p>
                  </a:txBody>
                  <a:tcPr anchor="ctr">
                    <a:lnL w="6350" cap="flat" cmpd="sng" algn="ctr">
                      <a:solidFill>
                        <a:schemeClr val="bg1"/>
                      </a:solidFill>
                      <a:prstDash val="solid"/>
                      <a:round/>
                      <a:headEnd type="none" w="med" len="med"/>
                      <a:tailEnd type="none" w="med" len="med"/>
                    </a:lnL>
                    <a:lnR w="12700" cmpd="sng">
                      <a:noFill/>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8385598"/>
                  </a:ext>
                </a:extLst>
              </a:tr>
              <a:tr h="670437">
                <a:tc>
                  <a:txBody>
                    <a:bodyPr/>
                    <a:lstStyle/>
                    <a:p>
                      <a:pPr algn="ctr"/>
                      <a:r>
                        <a:rPr lang="en-US" sz="1400" dirty="0">
                          <a:solidFill>
                            <a:schemeClr val="bg1"/>
                          </a:solidFill>
                        </a:rPr>
                        <a:t>Logistic Regression</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dirty="0"/>
                        <a:t>0=0.95</a:t>
                      </a:r>
                    </a:p>
                    <a:p>
                      <a:pPr algn="ctr"/>
                      <a:r>
                        <a:rPr lang="en-US" dirty="0"/>
                        <a:t>1=0.00</a:t>
                      </a:r>
                    </a:p>
                    <a:p>
                      <a:pPr algn="ctr"/>
                      <a:endParaRPr lang="en-US"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dirty="0"/>
                        <a:t>0= 1.00</a:t>
                      </a:r>
                    </a:p>
                    <a:p>
                      <a:pPr algn="ctr"/>
                      <a:r>
                        <a:rPr lang="en-US" dirty="0"/>
                        <a:t>1=0.00</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dirty="0"/>
                        <a:t>94.618</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dirty="0"/>
                        <a:t>0=0.97</a:t>
                      </a:r>
                    </a:p>
                    <a:p>
                      <a:pPr algn="ctr"/>
                      <a:r>
                        <a:rPr lang="en-US" dirty="0"/>
                        <a:t>1=0.00</a:t>
                      </a:r>
                    </a:p>
                  </a:txBody>
                  <a:tcPr anchor="ctr">
                    <a:lnL w="6350" cap="flat" cmpd="sng" algn="ctr">
                      <a:solidFill>
                        <a:schemeClr val="bg1"/>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728516819"/>
                  </a:ext>
                </a:extLst>
              </a:tr>
              <a:tr h="670437">
                <a:tc>
                  <a:txBody>
                    <a:bodyPr/>
                    <a:lstStyle/>
                    <a:p>
                      <a:pPr algn="ctr"/>
                      <a:r>
                        <a:rPr lang="en-US" sz="1400" dirty="0">
                          <a:solidFill>
                            <a:schemeClr val="bg1"/>
                          </a:solidFill>
                        </a:rPr>
                        <a:t>Naïve Bayes</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dirty="0"/>
                        <a:t>0= 0.95</a:t>
                      </a:r>
                    </a:p>
                    <a:p>
                      <a:pPr algn="ctr"/>
                      <a:r>
                        <a:rPr lang="en-US" dirty="0"/>
                        <a:t>1=0.00</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dirty="0"/>
                        <a:t>0=1.00</a:t>
                      </a:r>
                    </a:p>
                    <a:p>
                      <a:pPr algn="ctr"/>
                      <a:r>
                        <a:rPr lang="en-US" dirty="0"/>
                        <a:t>1=1.00</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dirty="0"/>
                        <a:t>94.71</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dirty="0"/>
                        <a:t>0=0.97</a:t>
                      </a:r>
                    </a:p>
                    <a:p>
                      <a:pPr algn="ctr"/>
                      <a:r>
                        <a:rPr lang="en-US" dirty="0"/>
                        <a:t>1=0.00</a:t>
                      </a:r>
                    </a:p>
                  </a:txBody>
                  <a:tcPr anchor="ctr">
                    <a:lnL w="6350" cap="flat" cmpd="sng" algn="ctr">
                      <a:solidFill>
                        <a:schemeClr val="bg1"/>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926273471"/>
                  </a:ext>
                </a:extLst>
              </a:tr>
              <a:tr h="670437">
                <a:tc>
                  <a:txBody>
                    <a:bodyPr/>
                    <a:lstStyle/>
                    <a:p>
                      <a:pPr algn="ctr"/>
                      <a:r>
                        <a:rPr lang="en-US" sz="1400" dirty="0">
                          <a:solidFill>
                            <a:schemeClr val="bg1"/>
                          </a:solidFill>
                        </a:rPr>
                        <a:t>Support Vector Machines</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dirty="0"/>
                        <a:t>0=0.95</a:t>
                      </a:r>
                    </a:p>
                    <a:p>
                      <a:pPr algn="ctr"/>
                      <a:r>
                        <a:rPr lang="en-US" dirty="0"/>
                        <a:t>1=0.62</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dirty="0"/>
                        <a:t>0=1.00</a:t>
                      </a:r>
                    </a:p>
                    <a:p>
                      <a:pPr algn="ctr"/>
                      <a:r>
                        <a:rPr lang="en-US" dirty="0"/>
                        <a:t>1=0.09</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dirty="0"/>
                        <a:t>94.911</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dirty="0"/>
                        <a:t>0=0.97</a:t>
                      </a:r>
                    </a:p>
                    <a:p>
                      <a:pPr algn="ctr"/>
                      <a:r>
                        <a:rPr lang="en-US" dirty="0"/>
                        <a:t>1=0.16</a:t>
                      </a:r>
                    </a:p>
                  </a:txBody>
                  <a:tcPr anchor="ctr">
                    <a:lnL w="6350" cap="flat" cmpd="sng" algn="ctr">
                      <a:solidFill>
                        <a:schemeClr val="bg1"/>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674212300"/>
                  </a:ext>
                </a:extLst>
              </a:tr>
            </a:tbl>
          </a:graphicData>
        </a:graphic>
      </p:graphicFrame>
    </p:spTree>
    <p:extLst>
      <p:ext uri="{BB962C8B-B14F-4D97-AF65-F5344CB8AC3E}">
        <p14:creationId xmlns:p14="http://schemas.microsoft.com/office/powerpoint/2010/main" val="35907426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AADD15-EF19-4140-88C7-FA18D3670B4A}"/>
              </a:ext>
            </a:extLst>
          </p:cNvPr>
          <p:cNvSpPr txBox="1"/>
          <p:nvPr/>
        </p:nvSpPr>
        <p:spPr>
          <a:xfrm>
            <a:off x="431800" y="258496"/>
            <a:ext cx="11328400" cy="738664"/>
          </a:xfrm>
          <a:prstGeom prst="rect">
            <a:avLst/>
          </a:prstGeom>
          <a:noFill/>
        </p:spPr>
        <p:txBody>
          <a:bodyPr wrap="square" lIns="0" tIns="0" rIns="0" bIns="0" rtlCol="0" anchor="t">
            <a:spAutoFit/>
          </a:bodyPr>
          <a:lstStyle/>
          <a:p>
            <a:pPr algn="ctr"/>
            <a:r>
              <a:rPr lang="en-US" sz="4800" dirty="0">
                <a:solidFill>
                  <a:schemeClr val="tx2"/>
                </a:solidFill>
                <a:latin typeface="+mj-lt"/>
              </a:rPr>
              <a:t>Selecting the Best Model</a:t>
            </a:r>
          </a:p>
        </p:txBody>
      </p:sp>
      <p:grpSp>
        <p:nvGrpSpPr>
          <p:cNvPr id="5" name="Group 4">
            <a:extLst>
              <a:ext uri="{FF2B5EF4-FFF2-40B4-BE49-F238E27FC236}">
                <a16:creationId xmlns:a16="http://schemas.microsoft.com/office/drawing/2014/main" id="{D903D880-2121-4AF1-AB91-4DE7F5B28CF3}"/>
              </a:ext>
            </a:extLst>
          </p:cNvPr>
          <p:cNvGrpSpPr/>
          <p:nvPr/>
        </p:nvGrpSpPr>
        <p:grpSpPr>
          <a:xfrm>
            <a:off x="5319855" y="6478321"/>
            <a:ext cx="1552291" cy="121183"/>
            <a:chOff x="4665436" y="4689691"/>
            <a:chExt cx="2415114" cy="121183"/>
          </a:xfrm>
        </p:grpSpPr>
        <p:sp>
          <p:nvSpPr>
            <p:cNvPr id="6" name="Rectangle: Rounded Corners 5">
              <a:extLst>
                <a:ext uri="{FF2B5EF4-FFF2-40B4-BE49-F238E27FC236}">
                  <a16:creationId xmlns:a16="http://schemas.microsoft.com/office/drawing/2014/main" id="{BC7BF908-FDDB-4BF7-BD98-0F1BBFA71B88}"/>
                </a:ext>
              </a:extLst>
            </p:cNvPr>
            <p:cNvSpPr/>
            <p:nvPr/>
          </p:nvSpPr>
          <p:spPr>
            <a:xfrm>
              <a:off x="4665436" y="4689691"/>
              <a:ext cx="1075758" cy="121183"/>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Rounded Corners 6">
              <a:extLst>
                <a:ext uri="{FF2B5EF4-FFF2-40B4-BE49-F238E27FC236}">
                  <a16:creationId xmlns:a16="http://schemas.microsoft.com/office/drawing/2014/main" id="{B1F27A12-06B2-470B-96A1-37F027DD98F8}"/>
                </a:ext>
              </a:extLst>
            </p:cNvPr>
            <p:cNvSpPr/>
            <p:nvPr/>
          </p:nvSpPr>
          <p:spPr>
            <a:xfrm>
              <a:off x="6004792" y="4689691"/>
              <a:ext cx="1075758" cy="121183"/>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Date Placeholder 7">
            <a:extLst>
              <a:ext uri="{FF2B5EF4-FFF2-40B4-BE49-F238E27FC236}">
                <a16:creationId xmlns:a16="http://schemas.microsoft.com/office/drawing/2014/main" id="{ED17E5F7-A895-4DA2-9E2E-33870877DB5B}"/>
              </a:ext>
            </a:extLst>
          </p:cNvPr>
          <p:cNvSpPr>
            <a:spLocks noGrp="1"/>
          </p:cNvSpPr>
          <p:nvPr>
            <p:ph type="dt" sz="half" idx="10"/>
          </p:nvPr>
        </p:nvSpPr>
        <p:spPr>
          <a:xfrm>
            <a:off x="838200" y="63563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0B399E3-31DF-49D3-B858-F8F109171C56}" type="datetimeFigureOut">
              <a:rPr lang="en-US" smtClean="0"/>
              <a:pPr/>
              <a:t>3/25/2021</a:t>
            </a:fld>
            <a:endParaRPr lang="en-US"/>
          </a:p>
        </p:txBody>
      </p:sp>
      <p:sp>
        <p:nvSpPr>
          <p:cNvPr id="9" name="Slide Number Placeholder 8">
            <a:extLst>
              <a:ext uri="{FF2B5EF4-FFF2-40B4-BE49-F238E27FC236}">
                <a16:creationId xmlns:a16="http://schemas.microsoft.com/office/drawing/2014/main" id="{DAA389C8-B2EE-4FCB-A752-D81FA60401A6}"/>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794E2DD-4F38-4D2A-97E5-5D7467AA1DEC}" type="slidenum">
              <a:rPr lang="en-US" smtClean="0"/>
              <a:pPr/>
              <a:t>18</a:t>
            </a:fld>
            <a:endParaRPr lang="en-US"/>
          </a:p>
        </p:txBody>
      </p:sp>
      <p:graphicFrame>
        <p:nvGraphicFramePr>
          <p:cNvPr id="14" name="Table 13">
            <a:extLst>
              <a:ext uri="{FF2B5EF4-FFF2-40B4-BE49-F238E27FC236}">
                <a16:creationId xmlns:a16="http://schemas.microsoft.com/office/drawing/2014/main" id="{EBB3C1F1-DF07-4C8A-AEA1-38BF40813A1F}"/>
              </a:ext>
            </a:extLst>
          </p:cNvPr>
          <p:cNvGraphicFramePr>
            <a:graphicFrameLocks noGrp="1"/>
          </p:cNvGraphicFramePr>
          <p:nvPr>
            <p:extLst>
              <p:ext uri="{D42A27DB-BD31-4B8C-83A1-F6EECF244321}">
                <p14:modId xmlns:p14="http://schemas.microsoft.com/office/powerpoint/2010/main" val="2346686818"/>
              </p:ext>
            </p:extLst>
          </p:nvPr>
        </p:nvGraphicFramePr>
        <p:xfrm>
          <a:off x="514349" y="1209776"/>
          <a:ext cx="10255251" cy="4276624"/>
        </p:xfrm>
        <a:graphic>
          <a:graphicData uri="http://schemas.openxmlformats.org/drawingml/2006/table">
            <a:tbl>
              <a:tblPr firstRow="1" bandRow="1">
                <a:tableStyleId>{5C22544A-7EE6-4342-B048-85BDC9FD1C3A}</a:tableStyleId>
              </a:tblPr>
              <a:tblGrid>
                <a:gridCol w="3418417">
                  <a:extLst>
                    <a:ext uri="{9D8B030D-6E8A-4147-A177-3AD203B41FA5}">
                      <a16:colId xmlns:a16="http://schemas.microsoft.com/office/drawing/2014/main" val="2564411398"/>
                    </a:ext>
                  </a:extLst>
                </a:gridCol>
                <a:gridCol w="3418417">
                  <a:extLst>
                    <a:ext uri="{9D8B030D-6E8A-4147-A177-3AD203B41FA5}">
                      <a16:colId xmlns:a16="http://schemas.microsoft.com/office/drawing/2014/main" val="2851696159"/>
                    </a:ext>
                  </a:extLst>
                </a:gridCol>
                <a:gridCol w="3418417">
                  <a:extLst>
                    <a:ext uri="{9D8B030D-6E8A-4147-A177-3AD203B41FA5}">
                      <a16:colId xmlns:a16="http://schemas.microsoft.com/office/drawing/2014/main" val="1005280288"/>
                    </a:ext>
                  </a:extLst>
                </a:gridCol>
              </a:tblGrid>
              <a:tr h="1069156">
                <a:tc>
                  <a:txBody>
                    <a:bodyPr/>
                    <a:lstStyle/>
                    <a:p>
                      <a:pPr algn="ctr"/>
                      <a:endParaRPr lang="en-US" dirty="0"/>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dirty="0"/>
                        <a:t>Best Scor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dirty="0"/>
                        <a:t>Best Param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8385598"/>
                  </a:ext>
                </a:extLst>
              </a:tr>
              <a:tr h="1069156">
                <a:tc>
                  <a:txBody>
                    <a:bodyPr/>
                    <a:lstStyle/>
                    <a:p>
                      <a:pPr algn="ctr"/>
                      <a:r>
                        <a:rPr lang="en-US" sz="1400" dirty="0">
                          <a:solidFill>
                            <a:schemeClr val="bg1"/>
                          </a:solidFill>
                        </a:rPr>
                        <a:t>Logistic Regression</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AU" dirty="0"/>
                        <a:t>0.94227164036346</a:t>
                      </a:r>
                      <a:endParaRPr lang="en-US"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AU" dirty="0"/>
                        <a:t>'C': 5</a:t>
                      </a:r>
                      <a:endParaRPr lang="en-US"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728516819"/>
                  </a:ext>
                </a:extLst>
              </a:tr>
              <a:tr h="1069156">
                <a:tc>
                  <a:txBody>
                    <a:bodyPr/>
                    <a:lstStyle/>
                    <a:p>
                      <a:pPr algn="ctr"/>
                      <a:r>
                        <a:rPr lang="en-US" sz="1400" dirty="0">
                          <a:solidFill>
                            <a:schemeClr val="bg1"/>
                          </a:solidFill>
                        </a:rPr>
                        <a:t>Naïve Bayes</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AU" dirty="0"/>
                        <a:t>0.8037447149139046</a:t>
                      </a:r>
                      <a:endParaRPr lang="en-US"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AU" dirty="0"/>
                        <a:t>'</a:t>
                      </a:r>
                      <a:r>
                        <a:rPr lang="en-AU" dirty="0" err="1"/>
                        <a:t>var_smoothing</a:t>
                      </a:r>
                      <a:r>
                        <a:rPr lang="en-AU" dirty="0"/>
                        <a:t>': 2.848035868435799e-08</a:t>
                      </a:r>
                      <a:endParaRPr lang="en-US"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926273471"/>
                  </a:ext>
                </a:extLst>
              </a:tr>
              <a:tr h="1069156">
                <a:tc>
                  <a:txBody>
                    <a:bodyPr/>
                    <a:lstStyle/>
                    <a:p>
                      <a:pPr algn="ctr"/>
                      <a:r>
                        <a:rPr lang="en-US" sz="1400" dirty="0">
                          <a:solidFill>
                            <a:schemeClr val="bg1"/>
                          </a:solidFill>
                        </a:rPr>
                        <a:t>Support Vector Machines</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AU" dirty="0"/>
                        <a:t>0.9471640363462459</a:t>
                      </a:r>
                      <a:endParaRPr lang="en-US"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AU" dirty="0"/>
                        <a:t>C': 1, 'kernel': 'rbf'</a:t>
                      </a:r>
                      <a:endParaRPr lang="en-US"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674212300"/>
                  </a:ext>
                </a:extLst>
              </a:tr>
            </a:tbl>
          </a:graphicData>
        </a:graphic>
      </p:graphicFrame>
    </p:spTree>
    <p:extLst>
      <p:ext uri="{BB962C8B-B14F-4D97-AF65-F5344CB8AC3E}">
        <p14:creationId xmlns:p14="http://schemas.microsoft.com/office/powerpoint/2010/main" val="7968007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Freeform: Shape 56">
            <a:extLst>
              <a:ext uri="{FF2B5EF4-FFF2-40B4-BE49-F238E27FC236}">
                <a16:creationId xmlns:a16="http://schemas.microsoft.com/office/drawing/2014/main" id="{E98BAF20-4A16-447D-82AF-B00D74FDE7E9}"/>
              </a:ext>
            </a:extLst>
          </p:cNvPr>
          <p:cNvSpPr/>
          <p:nvPr/>
        </p:nvSpPr>
        <p:spPr>
          <a:xfrm flipV="1">
            <a:off x="-27832" y="6007100"/>
            <a:ext cx="1184981" cy="849168"/>
          </a:xfrm>
          <a:custGeom>
            <a:avLst/>
            <a:gdLst>
              <a:gd name="connsiteX0" fmla="*/ 1176592 w 1184981"/>
              <a:gd name="connsiteY0" fmla="*/ 849112 h 849168"/>
              <a:gd name="connsiteX1" fmla="*/ 1184981 w 1184981"/>
              <a:gd name="connsiteY1" fmla="*/ 794657 h 849168"/>
              <a:gd name="connsiteX2" fmla="*/ 1184981 w 1184981"/>
              <a:gd name="connsiteY2" fmla="*/ 1476 h 849168"/>
              <a:gd name="connsiteX3" fmla="*/ 0 w 1184981"/>
              <a:gd name="connsiteY3" fmla="*/ 0 h 849168"/>
              <a:gd name="connsiteX4" fmla="*/ 0 w 1184981"/>
              <a:gd name="connsiteY4" fmla="*/ 544469 h 849168"/>
              <a:gd name="connsiteX5" fmla="*/ 59549 w 1184981"/>
              <a:gd name="connsiteY5" fmla="*/ 545886 h 849168"/>
              <a:gd name="connsiteX6" fmla="*/ 226860 w 1184981"/>
              <a:gd name="connsiteY6" fmla="*/ 544454 h 849168"/>
              <a:gd name="connsiteX7" fmla="*/ 1176592 w 1184981"/>
              <a:gd name="connsiteY7" fmla="*/ 849112 h 849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4981" h="849168">
                <a:moveTo>
                  <a:pt x="1176592" y="849112"/>
                </a:moveTo>
                <a:cubicBezTo>
                  <a:pt x="1184097" y="850234"/>
                  <a:pt x="1184940" y="834731"/>
                  <a:pt x="1184981" y="794657"/>
                </a:cubicBezTo>
                <a:lnTo>
                  <a:pt x="1184981" y="1476"/>
                </a:lnTo>
                <a:lnTo>
                  <a:pt x="0" y="0"/>
                </a:lnTo>
                <a:lnTo>
                  <a:pt x="0" y="544469"/>
                </a:lnTo>
                <a:lnTo>
                  <a:pt x="59549" y="545886"/>
                </a:lnTo>
                <a:cubicBezTo>
                  <a:pt x="112733" y="546255"/>
                  <a:pt x="168429" y="545781"/>
                  <a:pt x="226860" y="544454"/>
                </a:cubicBezTo>
                <a:cubicBezTo>
                  <a:pt x="986458" y="527196"/>
                  <a:pt x="1144073" y="844249"/>
                  <a:pt x="1176592" y="84911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34">
            <a:extLst>
              <a:ext uri="{FF2B5EF4-FFF2-40B4-BE49-F238E27FC236}">
                <a16:creationId xmlns:a16="http://schemas.microsoft.com/office/drawing/2014/main" id="{155DC282-20F4-415C-BFD1-CC8145E87C90}"/>
              </a:ext>
            </a:extLst>
          </p:cNvPr>
          <p:cNvSpPr/>
          <p:nvPr/>
        </p:nvSpPr>
        <p:spPr>
          <a:xfrm flipH="1" flipV="1">
            <a:off x="3695700" y="6007100"/>
            <a:ext cx="2575938" cy="850900"/>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 name="connsiteX0" fmla="*/ 0 w 3479810"/>
              <a:gd name="connsiteY0" fmla="*/ 0 h 1207779"/>
              <a:gd name="connsiteX1" fmla="*/ 3479810 w 3479810"/>
              <a:gd name="connsiteY1" fmla="*/ 4553 h 1207779"/>
              <a:gd name="connsiteX2" fmla="*/ 3479810 w 3479810"/>
              <a:gd name="connsiteY2" fmla="*/ 1130405 h 1207779"/>
              <a:gd name="connsiteX3" fmla="*/ 2185493 w 3479810"/>
              <a:gd name="connsiteY3" fmla="*/ 775263 h 1207779"/>
              <a:gd name="connsiteX4" fmla="*/ 0 w 3479810"/>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9810" h="1207779">
                <a:moveTo>
                  <a:pt x="0" y="0"/>
                </a:moveTo>
                <a:lnTo>
                  <a:pt x="3479810" y="4553"/>
                </a:lnTo>
                <a:lnTo>
                  <a:pt x="3479810" y="1130405"/>
                </a:lnTo>
                <a:cubicBezTo>
                  <a:pt x="3479511" y="1433772"/>
                  <a:pt x="3448427" y="745115"/>
                  <a:pt x="2185493" y="775263"/>
                </a:cubicBezTo>
                <a:cubicBezTo>
                  <a:pt x="922559" y="805411"/>
                  <a:pt x="605342" y="525332"/>
                  <a:pt x="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9BA8C45E-8FA0-4167-B280-478FCF9C9782}"/>
              </a:ext>
            </a:extLst>
          </p:cNvPr>
          <p:cNvSpPr/>
          <p:nvPr/>
        </p:nvSpPr>
        <p:spPr>
          <a:xfrm>
            <a:off x="2841523" y="806246"/>
            <a:ext cx="9350477" cy="845574"/>
          </a:xfrm>
          <a:prstGeom prst="rect">
            <a:avLst/>
          </a:prstGeom>
          <a:gradFill>
            <a:gsLst>
              <a:gs pos="21000">
                <a:schemeClr val="accent1"/>
              </a:gs>
              <a:gs pos="100000">
                <a:schemeClr val="accent2"/>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itle 1">
            <a:extLst>
              <a:ext uri="{FF2B5EF4-FFF2-40B4-BE49-F238E27FC236}">
                <a16:creationId xmlns:a16="http://schemas.microsoft.com/office/drawing/2014/main" id="{41DFA55B-06B3-4979-8714-3ECB2AA1DAC5}"/>
              </a:ext>
            </a:extLst>
          </p:cNvPr>
          <p:cNvSpPr>
            <a:spLocks noGrp="1"/>
          </p:cNvSpPr>
          <p:nvPr>
            <p:ph type="title"/>
          </p:nvPr>
        </p:nvSpPr>
        <p:spPr>
          <a:xfrm>
            <a:off x="4080387" y="841227"/>
            <a:ext cx="4965291" cy="775612"/>
          </a:xfrm>
        </p:spPr>
        <p:txBody>
          <a:bodyPr/>
          <a:lstStyle/>
          <a:p>
            <a:r>
              <a:rPr lang="en-US" dirty="0">
                <a:solidFill>
                  <a:schemeClr val="bg1"/>
                </a:solidFill>
              </a:rPr>
              <a:t> Summary</a:t>
            </a:r>
          </a:p>
        </p:txBody>
      </p:sp>
      <p:sp>
        <p:nvSpPr>
          <p:cNvPr id="4" name="Slide Number Placeholder 3">
            <a:extLst>
              <a:ext uri="{FF2B5EF4-FFF2-40B4-BE49-F238E27FC236}">
                <a16:creationId xmlns:a16="http://schemas.microsoft.com/office/drawing/2014/main" id="{353CD5F5-799E-4D89-82A7-3A5DDDC6FCCA}"/>
              </a:ext>
            </a:extLst>
          </p:cNvPr>
          <p:cNvSpPr>
            <a:spLocks noGrp="1"/>
          </p:cNvSpPr>
          <p:nvPr>
            <p:ph type="sldNum" sz="quarter" idx="4"/>
          </p:nvPr>
        </p:nvSpPr>
        <p:spPr/>
        <p:txBody>
          <a:bodyPr/>
          <a:lstStyle/>
          <a:p>
            <a:fld id="{B84D2E29-67F4-44D8-B0E3-F54815B4F123}" type="slidenum">
              <a:rPr lang="en-US" smtClean="0"/>
              <a:pPr/>
              <a:t>19</a:t>
            </a:fld>
            <a:endParaRPr lang="en-US" dirty="0"/>
          </a:p>
        </p:txBody>
      </p:sp>
      <p:pic>
        <p:nvPicPr>
          <p:cNvPr id="6" name="Picture 5" descr="A person standing in front of a building&#10;&#10;Description automatically generated">
            <a:extLst>
              <a:ext uri="{FF2B5EF4-FFF2-40B4-BE49-F238E27FC236}">
                <a16:creationId xmlns:a16="http://schemas.microsoft.com/office/drawing/2014/main" id="{1D8F474B-1150-494F-9BEB-289ACC4F21E1}"/>
              </a:ext>
            </a:extLst>
          </p:cNvPr>
          <p:cNvPicPr>
            <a:picLocks noChangeAspect="1"/>
          </p:cNvPicPr>
          <p:nvPr/>
        </p:nvPicPr>
        <p:blipFill rotWithShape="1">
          <a:blip r:embed="rId3">
            <a:extLst>
              <a:ext uri="{BEBA8EAE-BF5A-486C-A8C5-ECC9F3942E4B}">
                <a14:imgProps xmlns:a14="http://schemas.microsoft.com/office/drawing/2010/main">
                  <a14:imgLayer r:embed="rId4">
                    <a14:imgEffect>
                      <a14:backgroundRemoval t="5908" b="98219" l="9939" r="95997">
                        <a14:foregroundMark x1="76507" y1="12250" x2="79350" y2="6255"/>
                        <a14:foregroundMark x1="79350" y1="6255" x2="80168" y2="5951"/>
                        <a14:foregroundMark x1="77826" y1="11772" x2="78531" y2="10165"/>
                        <a14:foregroundMark x1="79145" y1="37315" x2="78053" y2="41790"/>
                        <a14:foregroundMark x1="88833" y1="43267" x2="92245" y2="48306"/>
                        <a14:foregroundMark x1="92245" y1="48306" x2="93609" y2="54170"/>
                        <a14:foregroundMark x1="83693" y1="74935" x2="83693" y2="71937"/>
                        <a14:foregroundMark x1="95793" y1="60295" x2="96020" y2="68636"/>
                        <a14:foregroundMark x1="77758" y1="85838" x2="78599" y2="98219"/>
                      </a14:backgroundRemoval>
                    </a14:imgEffect>
                  </a14:imgLayer>
                </a14:imgProps>
              </a:ext>
              <a:ext uri="{28A0092B-C50C-407E-A947-70E740481C1C}">
                <a14:useLocalDpi xmlns:a14="http://schemas.microsoft.com/office/drawing/2010/main" val="0"/>
              </a:ext>
            </a:extLst>
          </a:blip>
          <a:srcRect l="63892"/>
          <a:stretch/>
        </p:blipFill>
        <p:spPr>
          <a:xfrm>
            <a:off x="191242" y="94367"/>
            <a:ext cx="4665893" cy="6763633"/>
          </a:xfrm>
          <a:prstGeom prst="rect">
            <a:avLst/>
          </a:prstGeom>
        </p:spPr>
      </p:pic>
      <p:grpSp>
        <p:nvGrpSpPr>
          <p:cNvPr id="8" name="Group 7">
            <a:extLst>
              <a:ext uri="{FF2B5EF4-FFF2-40B4-BE49-F238E27FC236}">
                <a16:creationId xmlns:a16="http://schemas.microsoft.com/office/drawing/2014/main" id="{23AF1DA8-2D4F-48A8-9C59-2ABC51E61DA0}"/>
              </a:ext>
            </a:extLst>
          </p:cNvPr>
          <p:cNvGrpSpPr/>
          <p:nvPr/>
        </p:nvGrpSpPr>
        <p:grpSpPr>
          <a:xfrm>
            <a:off x="11233702" y="983226"/>
            <a:ext cx="489458" cy="491614"/>
            <a:chOff x="9161463" y="2163763"/>
            <a:chExt cx="360363" cy="361950"/>
          </a:xfrm>
          <a:solidFill>
            <a:schemeClr val="bg1"/>
          </a:solidFill>
        </p:grpSpPr>
        <p:sp>
          <p:nvSpPr>
            <p:cNvPr id="9" name="Freeform 65">
              <a:extLst>
                <a:ext uri="{FF2B5EF4-FFF2-40B4-BE49-F238E27FC236}">
                  <a16:creationId xmlns:a16="http://schemas.microsoft.com/office/drawing/2014/main" id="{B8139E16-D857-4A41-AAB5-B9BAC40B318D}"/>
                </a:ext>
              </a:extLst>
            </p:cNvPr>
            <p:cNvSpPr>
              <a:spLocks/>
            </p:cNvSpPr>
            <p:nvPr/>
          </p:nvSpPr>
          <p:spPr bwMode="auto">
            <a:xfrm>
              <a:off x="9371013" y="2209801"/>
              <a:ext cx="46038" cy="217488"/>
            </a:xfrm>
            <a:custGeom>
              <a:avLst/>
              <a:gdLst>
                <a:gd name="T0" fmla="*/ 12 w 12"/>
                <a:gd name="T1" fmla="*/ 2 h 58"/>
                <a:gd name="T2" fmla="*/ 10 w 12"/>
                <a:gd name="T3" fmla="*/ 0 h 58"/>
                <a:gd name="T4" fmla="*/ 0 w 12"/>
                <a:gd name="T5" fmla="*/ 0 h 58"/>
                <a:gd name="T6" fmla="*/ 0 w 12"/>
                <a:gd name="T7" fmla="*/ 12 h 58"/>
                <a:gd name="T8" fmla="*/ 0 w 12"/>
                <a:gd name="T9" fmla="*/ 18 h 58"/>
                <a:gd name="T10" fmla="*/ 0 w 12"/>
                <a:gd name="T11" fmla="*/ 58 h 58"/>
                <a:gd name="T12" fmla="*/ 12 w 12"/>
                <a:gd name="T13" fmla="*/ 46 h 58"/>
                <a:gd name="T14" fmla="*/ 12 w 12"/>
                <a:gd name="T15" fmla="*/ 2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58">
                  <a:moveTo>
                    <a:pt x="12" y="2"/>
                  </a:moveTo>
                  <a:cubicBezTo>
                    <a:pt x="12" y="1"/>
                    <a:pt x="11" y="0"/>
                    <a:pt x="10" y="0"/>
                  </a:cubicBezTo>
                  <a:cubicBezTo>
                    <a:pt x="0" y="0"/>
                    <a:pt x="0" y="0"/>
                    <a:pt x="0" y="0"/>
                  </a:cubicBezTo>
                  <a:cubicBezTo>
                    <a:pt x="0" y="12"/>
                    <a:pt x="0" y="12"/>
                    <a:pt x="0" y="12"/>
                  </a:cubicBezTo>
                  <a:cubicBezTo>
                    <a:pt x="0" y="18"/>
                    <a:pt x="0" y="18"/>
                    <a:pt x="0" y="18"/>
                  </a:cubicBezTo>
                  <a:cubicBezTo>
                    <a:pt x="0" y="58"/>
                    <a:pt x="0" y="58"/>
                    <a:pt x="0" y="58"/>
                  </a:cubicBezTo>
                  <a:cubicBezTo>
                    <a:pt x="12" y="46"/>
                    <a:pt x="12" y="46"/>
                    <a:pt x="12" y="46"/>
                  </a:cubicBezTo>
                  <a:lnTo>
                    <a:pt x="1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 name="Freeform 66">
              <a:extLst>
                <a:ext uri="{FF2B5EF4-FFF2-40B4-BE49-F238E27FC236}">
                  <a16:creationId xmlns:a16="http://schemas.microsoft.com/office/drawing/2014/main" id="{D547A117-C25B-4AEB-B2C9-74A085C46F9D}"/>
                </a:ext>
              </a:extLst>
            </p:cNvPr>
            <p:cNvSpPr>
              <a:spLocks/>
            </p:cNvSpPr>
            <p:nvPr/>
          </p:nvSpPr>
          <p:spPr bwMode="auto">
            <a:xfrm>
              <a:off x="9161463" y="2209801"/>
              <a:ext cx="187325" cy="285750"/>
            </a:xfrm>
            <a:custGeom>
              <a:avLst/>
              <a:gdLst>
                <a:gd name="T0" fmla="*/ 49 w 50"/>
                <a:gd name="T1" fmla="*/ 64 h 76"/>
                <a:gd name="T2" fmla="*/ 50 w 50"/>
                <a:gd name="T3" fmla="*/ 64 h 76"/>
                <a:gd name="T4" fmla="*/ 12 w 50"/>
                <a:gd name="T5" fmla="*/ 64 h 76"/>
                <a:gd name="T6" fmla="*/ 12 w 50"/>
                <a:gd name="T7" fmla="*/ 18 h 76"/>
                <a:gd name="T8" fmla="*/ 12 w 50"/>
                <a:gd name="T9" fmla="*/ 12 h 76"/>
                <a:gd name="T10" fmla="*/ 12 w 50"/>
                <a:gd name="T11" fmla="*/ 0 h 76"/>
                <a:gd name="T12" fmla="*/ 2 w 50"/>
                <a:gd name="T13" fmla="*/ 0 h 76"/>
                <a:gd name="T14" fmla="*/ 0 w 50"/>
                <a:gd name="T15" fmla="*/ 2 h 76"/>
                <a:gd name="T16" fmla="*/ 0 w 50"/>
                <a:gd name="T17" fmla="*/ 66 h 76"/>
                <a:gd name="T18" fmla="*/ 10 w 50"/>
                <a:gd name="T19" fmla="*/ 76 h 76"/>
                <a:gd name="T20" fmla="*/ 45 w 50"/>
                <a:gd name="T21" fmla="*/ 76 h 76"/>
                <a:gd name="T22" fmla="*/ 49 w 50"/>
                <a:gd name="T23" fmla="*/ 65 h 76"/>
                <a:gd name="T24" fmla="*/ 49 w 50"/>
                <a:gd name="T25" fmla="*/ 6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76">
                  <a:moveTo>
                    <a:pt x="49" y="64"/>
                  </a:moveTo>
                  <a:cubicBezTo>
                    <a:pt x="50" y="64"/>
                    <a:pt x="50" y="64"/>
                    <a:pt x="50" y="64"/>
                  </a:cubicBezTo>
                  <a:cubicBezTo>
                    <a:pt x="12" y="64"/>
                    <a:pt x="12" y="64"/>
                    <a:pt x="12" y="64"/>
                  </a:cubicBezTo>
                  <a:cubicBezTo>
                    <a:pt x="12" y="18"/>
                    <a:pt x="12" y="18"/>
                    <a:pt x="12" y="18"/>
                  </a:cubicBezTo>
                  <a:cubicBezTo>
                    <a:pt x="12" y="12"/>
                    <a:pt x="12" y="12"/>
                    <a:pt x="12" y="12"/>
                  </a:cubicBezTo>
                  <a:cubicBezTo>
                    <a:pt x="12" y="0"/>
                    <a:pt x="12" y="0"/>
                    <a:pt x="12" y="0"/>
                  </a:cubicBezTo>
                  <a:cubicBezTo>
                    <a:pt x="2" y="0"/>
                    <a:pt x="2" y="0"/>
                    <a:pt x="2" y="0"/>
                  </a:cubicBezTo>
                  <a:cubicBezTo>
                    <a:pt x="1" y="0"/>
                    <a:pt x="0" y="1"/>
                    <a:pt x="0" y="2"/>
                  </a:cubicBezTo>
                  <a:cubicBezTo>
                    <a:pt x="0" y="66"/>
                    <a:pt x="0" y="66"/>
                    <a:pt x="0" y="66"/>
                  </a:cubicBezTo>
                  <a:cubicBezTo>
                    <a:pt x="0" y="72"/>
                    <a:pt x="4" y="76"/>
                    <a:pt x="10" y="76"/>
                  </a:cubicBezTo>
                  <a:cubicBezTo>
                    <a:pt x="45" y="76"/>
                    <a:pt x="45" y="76"/>
                    <a:pt x="45" y="76"/>
                  </a:cubicBezTo>
                  <a:cubicBezTo>
                    <a:pt x="49" y="65"/>
                    <a:pt x="49" y="65"/>
                    <a:pt x="49" y="65"/>
                  </a:cubicBezTo>
                  <a:cubicBezTo>
                    <a:pt x="49" y="65"/>
                    <a:pt x="49" y="65"/>
                    <a:pt x="4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 name="Freeform 67">
              <a:extLst>
                <a:ext uri="{FF2B5EF4-FFF2-40B4-BE49-F238E27FC236}">
                  <a16:creationId xmlns:a16="http://schemas.microsoft.com/office/drawing/2014/main" id="{C78C8C6E-AA7E-4FFE-AD0B-FB890E8516B9}"/>
                </a:ext>
              </a:extLst>
            </p:cNvPr>
            <p:cNvSpPr>
              <a:spLocks/>
            </p:cNvSpPr>
            <p:nvPr/>
          </p:nvSpPr>
          <p:spPr bwMode="auto">
            <a:xfrm>
              <a:off x="9236075" y="2298701"/>
              <a:ext cx="90488" cy="15875"/>
            </a:xfrm>
            <a:custGeom>
              <a:avLst/>
              <a:gdLst>
                <a:gd name="T0" fmla="*/ 22 w 24"/>
                <a:gd name="T1" fmla="*/ 0 h 4"/>
                <a:gd name="T2" fmla="*/ 2 w 24"/>
                <a:gd name="T3" fmla="*/ 0 h 4"/>
                <a:gd name="T4" fmla="*/ 0 w 24"/>
                <a:gd name="T5" fmla="*/ 2 h 4"/>
                <a:gd name="T6" fmla="*/ 2 w 24"/>
                <a:gd name="T7" fmla="*/ 4 h 4"/>
                <a:gd name="T8" fmla="*/ 22 w 24"/>
                <a:gd name="T9" fmla="*/ 4 h 4"/>
                <a:gd name="T10" fmla="*/ 24 w 24"/>
                <a:gd name="T11" fmla="*/ 2 h 4"/>
                <a:gd name="T12" fmla="*/ 22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2" y="0"/>
                  </a:moveTo>
                  <a:cubicBezTo>
                    <a:pt x="2" y="0"/>
                    <a:pt x="2" y="0"/>
                    <a:pt x="2" y="0"/>
                  </a:cubicBezTo>
                  <a:cubicBezTo>
                    <a:pt x="1" y="0"/>
                    <a:pt x="0" y="1"/>
                    <a:pt x="0" y="2"/>
                  </a:cubicBezTo>
                  <a:cubicBezTo>
                    <a:pt x="0" y="3"/>
                    <a:pt x="1" y="4"/>
                    <a:pt x="2" y="4"/>
                  </a:cubicBezTo>
                  <a:cubicBezTo>
                    <a:pt x="22" y="4"/>
                    <a:pt x="22" y="4"/>
                    <a:pt x="22" y="4"/>
                  </a:cubicBezTo>
                  <a:cubicBezTo>
                    <a:pt x="23" y="4"/>
                    <a:pt x="24" y="3"/>
                    <a:pt x="24" y="2"/>
                  </a:cubicBezTo>
                  <a:cubicBezTo>
                    <a:pt x="24" y="1"/>
                    <a:pt x="23"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 name="Freeform 68">
              <a:extLst>
                <a:ext uri="{FF2B5EF4-FFF2-40B4-BE49-F238E27FC236}">
                  <a16:creationId xmlns:a16="http://schemas.microsoft.com/office/drawing/2014/main" id="{2288712C-BB20-4467-B0A8-5403513A4B73}"/>
                </a:ext>
              </a:extLst>
            </p:cNvPr>
            <p:cNvSpPr>
              <a:spLocks/>
            </p:cNvSpPr>
            <p:nvPr/>
          </p:nvSpPr>
          <p:spPr bwMode="auto">
            <a:xfrm>
              <a:off x="9236075" y="2328863"/>
              <a:ext cx="90488" cy="15875"/>
            </a:xfrm>
            <a:custGeom>
              <a:avLst/>
              <a:gdLst>
                <a:gd name="T0" fmla="*/ 22 w 24"/>
                <a:gd name="T1" fmla="*/ 0 h 4"/>
                <a:gd name="T2" fmla="*/ 2 w 24"/>
                <a:gd name="T3" fmla="*/ 0 h 4"/>
                <a:gd name="T4" fmla="*/ 0 w 24"/>
                <a:gd name="T5" fmla="*/ 2 h 4"/>
                <a:gd name="T6" fmla="*/ 2 w 24"/>
                <a:gd name="T7" fmla="*/ 4 h 4"/>
                <a:gd name="T8" fmla="*/ 22 w 24"/>
                <a:gd name="T9" fmla="*/ 4 h 4"/>
                <a:gd name="T10" fmla="*/ 24 w 24"/>
                <a:gd name="T11" fmla="*/ 2 h 4"/>
                <a:gd name="T12" fmla="*/ 22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2" y="0"/>
                  </a:moveTo>
                  <a:cubicBezTo>
                    <a:pt x="2" y="0"/>
                    <a:pt x="2" y="0"/>
                    <a:pt x="2" y="0"/>
                  </a:cubicBezTo>
                  <a:cubicBezTo>
                    <a:pt x="1" y="0"/>
                    <a:pt x="0" y="1"/>
                    <a:pt x="0" y="2"/>
                  </a:cubicBezTo>
                  <a:cubicBezTo>
                    <a:pt x="0" y="3"/>
                    <a:pt x="1" y="4"/>
                    <a:pt x="2" y="4"/>
                  </a:cubicBezTo>
                  <a:cubicBezTo>
                    <a:pt x="22" y="4"/>
                    <a:pt x="22" y="4"/>
                    <a:pt x="22" y="4"/>
                  </a:cubicBezTo>
                  <a:cubicBezTo>
                    <a:pt x="23" y="4"/>
                    <a:pt x="24" y="3"/>
                    <a:pt x="24" y="2"/>
                  </a:cubicBezTo>
                  <a:cubicBezTo>
                    <a:pt x="24" y="1"/>
                    <a:pt x="23"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 name="Freeform 69">
              <a:extLst>
                <a:ext uri="{FF2B5EF4-FFF2-40B4-BE49-F238E27FC236}">
                  <a16:creationId xmlns:a16="http://schemas.microsoft.com/office/drawing/2014/main" id="{0E041EA8-F966-43EA-B1AB-EE0FD24D8781}"/>
                </a:ext>
              </a:extLst>
            </p:cNvPr>
            <p:cNvSpPr>
              <a:spLocks/>
            </p:cNvSpPr>
            <p:nvPr/>
          </p:nvSpPr>
          <p:spPr bwMode="auto">
            <a:xfrm>
              <a:off x="9236075" y="2359026"/>
              <a:ext cx="90488" cy="15875"/>
            </a:xfrm>
            <a:custGeom>
              <a:avLst/>
              <a:gdLst>
                <a:gd name="T0" fmla="*/ 24 w 24"/>
                <a:gd name="T1" fmla="*/ 2 h 4"/>
                <a:gd name="T2" fmla="*/ 22 w 24"/>
                <a:gd name="T3" fmla="*/ 0 h 4"/>
                <a:gd name="T4" fmla="*/ 2 w 24"/>
                <a:gd name="T5" fmla="*/ 0 h 4"/>
                <a:gd name="T6" fmla="*/ 0 w 24"/>
                <a:gd name="T7" fmla="*/ 2 h 4"/>
                <a:gd name="T8" fmla="*/ 2 w 24"/>
                <a:gd name="T9" fmla="*/ 4 h 4"/>
                <a:gd name="T10" fmla="*/ 22 w 24"/>
                <a:gd name="T11" fmla="*/ 4 h 4"/>
                <a:gd name="T12" fmla="*/ 24 w 2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2"/>
                  </a:moveTo>
                  <a:cubicBezTo>
                    <a:pt x="24" y="1"/>
                    <a:pt x="23" y="0"/>
                    <a:pt x="22" y="0"/>
                  </a:cubicBezTo>
                  <a:cubicBezTo>
                    <a:pt x="2" y="0"/>
                    <a:pt x="2" y="0"/>
                    <a:pt x="2" y="0"/>
                  </a:cubicBezTo>
                  <a:cubicBezTo>
                    <a:pt x="1" y="0"/>
                    <a:pt x="0" y="1"/>
                    <a:pt x="0" y="2"/>
                  </a:cubicBezTo>
                  <a:cubicBezTo>
                    <a:pt x="0" y="3"/>
                    <a:pt x="1" y="4"/>
                    <a:pt x="2" y="4"/>
                  </a:cubicBezTo>
                  <a:cubicBezTo>
                    <a:pt x="22" y="4"/>
                    <a:pt x="22" y="4"/>
                    <a:pt x="22" y="4"/>
                  </a:cubicBezTo>
                  <a:cubicBezTo>
                    <a:pt x="23" y="4"/>
                    <a:pt x="24" y="3"/>
                    <a:pt x="2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 name="Freeform 70">
              <a:extLst>
                <a:ext uri="{FF2B5EF4-FFF2-40B4-BE49-F238E27FC236}">
                  <a16:creationId xmlns:a16="http://schemas.microsoft.com/office/drawing/2014/main" id="{CE5B3C5D-8FB7-45D2-A784-97AC1E2F9126}"/>
                </a:ext>
              </a:extLst>
            </p:cNvPr>
            <p:cNvSpPr>
              <a:spLocks/>
            </p:cNvSpPr>
            <p:nvPr/>
          </p:nvSpPr>
          <p:spPr bwMode="auto">
            <a:xfrm>
              <a:off x="9236075" y="2389188"/>
              <a:ext cx="60325" cy="15875"/>
            </a:xfrm>
            <a:custGeom>
              <a:avLst/>
              <a:gdLst>
                <a:gd name="T0" fmla="*/ 2 w 16"/>
                <a:gd name="T1" fmla="*/ 0 h 4"/>
                <a:gd name="T2" fmla="*/ 0 w 16"/>
                <a:gd name="T3" fmla="*/ 2 h 4"/>
                <a:gd name="T4" fmla="*/ 2 w 16"/>
                <a:gd name="T5" fmla="*/ 4 h 4"/>
                <a:gd name="T6" fmla="*/ 14 w 16"/>
                <a:gd name="T7" fmla="*/ 4 h 4"/>
                <a:gd name="T8" fmla="*/ 16 w 16"/>
                <a:gd name="T9" fmla="*/ 2 h 4"/>
                <a:gd name="T10" fmla="*/ 14 w 16"/>
                <a:gd name="T11" fmla="*/ 0 h 4"/>
                <a:gd name="T12" fmla="*/ 2 w 1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2" y="0"/>
                  </a:moveTo>
                  <a:cubicBezTo>
                    <a:pt x="1" y="0"/>
                    <a:pt x="0" y="1"/>
                    <a:pt x="0" y="2"/>
                  </a:cubicBezTo>
                  <a:cubicBezTo>
                    <a:pt x="0" y="3"/>
                    <a:pt x="1" y="4"/>
                    <a:pt x="2" y="4"/>
                  </a:cubicBezTo>
                  <a:cubicBezTo>
                    <a:pt x="14" y="4"/>
                    <a:pt x="14" y="4"/>
                    <a:pt x="14" y="4"/>
                  </a:cubicBezTo>
                  <a:cubicBezTo>
                    <a:pt x="15" y="4"/>
                    <a:pt x="16" y="3"/>
                    <a:pt x="16" y="2"/>
                  </a:cubicBezTo>
                  <a:cubicBezTo>
                    <a:pt x="16" y="1"/>
                    <a:pt x="15" y="0"/>
                    <a:pt x="14"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 name="Freeform 71">
              <a:extLst>
                <a:ext uri="{FF2B5EF4-FFF2-40B4-BE49-F238E27FC236}">
                  <a16:creationId xmlns:a16="http://schemas.microsoft.com/office/drawing/2014/main" id="{12A97530-9913-429B-8464-31F1FFCDA1FA}"/>
                </a:ext>
              </a:extLst>
            </p:cNvPr>
            <p:cNvSpPr>
              <a:spLocks/>
            </p:cNvSpPr>
            <p:nvPr/>
          </p:nvSpPr>
          <p:spPr bwMode="auto">
            <a:xfrm>
              <a:off x="9221788" y="2163763"/>
              <a:ext cx="134938" cy="104775"/>
            </a:xfrm>
            <a:custGeom>
              <a:avLst/>
              <a:gdLst>
                <a:gd name="T0" fmla="*/ 2 w 36"/>
                <a:gd name="T1" fmla="*/ 28 h 28"/>
                <a:gd name="T2" fmla="*/ 34 w 36"/>
                <a:gd name="T3" fmla="*/ 28 h 28"/>
                <a:gd name="T4" fmla="*/ 36 w 36"/>
                <a:gd name="T5" fmla="*/ 26 h 28"/>
                <a:gd name="T6" fmla="*/ 36 w 36"/>
                <a:gd name="T7" fmla="*/ 10 h 28"/>
                <a:gd name="T8" fmla="*/ 34 w 36"/>
                <a:gd name="T9" fmla="*/ 8 h 28"/>
                <a:gd name="T10" fmla="*/ 28 w 36"/>
                <a:gd name="T11" fmla="*/ 8 h 28"/>
                <a:gd name="T12" fmla="*/ 18 w 36"/>
                <a:gd name="T13" fmla="*/ 0 h 28"/>
                <a:gd name="T14" fmla="*/ 8 w 36"/>
                <a:gd name="T15" fmla="*/ 8 h 28"/>
                <a:gd name="T16" fmla="*/ 2 w 36"/>
                <a:gd name="T17" fmla="*/ 8 h 28"/>
                <a:gd name="T18" fmla="*/ 0 w 36"/>
                <a:gd name="T19" fmla="*/ 10 h 28"/>
                <a:gd name="T20" fmla="*/ 0 w 36"/>
                <a:gd name="T21" fmla="*/ 26 h 28"/>
                <a:gd name="T22" fmla="*/ 2 w 36"/>
                <a:gd name="T2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8">
                  <a:moveTo>
                    <a:pt x="2" y="28"/>
                  </a:moveTo>
                  <a:cubicBezTo>
                    <a:pt x="34" y="28"/>
                    <a:pt x="34" y="28"/>
                    <a:pt x="34" y="28"/>
                  </a:cubicBezTo>
                  <a:cubicBezTo>
                    <a:pt x="35" y="28"/>
                    <a:pt x="36" y="27"/>
                    <a:pt x="36" y="26"/>
                  </a:cubicBezTo>
                  <a:cubicBezTo>
                    <a:pt x="36" y="10"/>
                    <a:pt x="36" y="10"/>
                    <a:pt x="36" y="10"/>
                  </a:cubicBezTo>
                  <a:cubicBezTo>
                    <a:pt x="36" y="9"/>
                    <a:pt x="35" y="8"/>
                    <a:pt x="34" y="8"/>
                  </a:cubicBezTo>
                  <a:cubicBezTo>
                    <a:pt x="28" y="8"/>
                    <a:pt x="28" y="8"/>
                    <a:pt x="28" y="8"/>
                  </a:cubicBezTo>
                  <a:cubicBezTo>
                    <a:pt x="27" y="3"/>
                    <a:pt x="23" y="0"/>
                    <a:pt x="18" y="0"/>
                  </a:cubicBezTo>
                  <a:cubicBezTo>
                    <a:pt x="13" y="0"/>
                    <a:pt x="9" y="3"/>
                    <a:pt x="8" y="8"/>
                  </a:cubicBezTo>
                  <a:cubicBezTo>
                    <a:pt x="2" y="8"/>
                    <a:pt x="2" y="8"/>
                    <a:pt x="2" y="8"/>
                  </a:cubicBezTo>
                  <a:cubicBezTo>
                    <a:pt x="1" y="8"/>
                    <a:pt x="0" y="9"/>
                    <a:pt x="0" y="10"/>
                  </a:cubicBezTo>
                  <a:cubicBezTo>
                    <a:pt x="0" y="26"/>
                    <a:pt x="0" y="26"/>
                    <a:pt x="0" y="26"/>
                  </a:cubicBezTo>
                  <a:cubicBezTo>
                    <a:pt x="0" y="27"/>
                    <a:pt x="1" y="28"/>
                    <a:pt x="2"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 name="Freeform 72">
              <a:extLst>
                <a:ext uri="{FF2B5EF4-FFF2-40B4-BE49-F238E27FC236}">
                  <a16:creationId xmlns:a16="http://schemas.microsoft.com/office/drawing/2014/main" id="{0E253B7C-E25B-4BAA-B825-84AED272E4D2}"/>
                </a:ext>
              </a:extLst>
            </p:cNvPr>
            <p:cNvSpPr>
              <a:spLocks/>
            </p:cNvSpPr>
            <p:nvPr/>
          </p:nvSpPr>
          <p:spPr bwMode="auto">
            <a:xfrm>
              <a:off x="9447213" y="2344738"/>
              <a:ext cx="74613" cy="74613"/>
            </a:xfrm>
            <a:custGeom>
              <a:avLst/>
              <a:gdLst>
                <a:gd name="T0" fmla="*/ 19 w 20"/>
                <a:gd name="T1" fmla="*/ 11 h 20"/>
                <a:gd name="T2" fmla="*/ 9 w 20"/>
                <a:gd name="T3" fmla="*/ 1 h 20"/>
                <a:gd name="T4" fmla="*/ 7 w 20"/>
                <a:gd name="T5" fmla="*/ 1 h 20"/>
                <a:gd name="T6" fmla="*/ 0 w 20"/>
                <a:gd name="T7" fmla="*/ 7 h 20"/>
                <a:gd name="T8" fmla="*/ 13 w 20"/>
                <a:gd name="T9" fmla="*/ 20 h 20"/>
                <a:gd name="T10" fmla="*/ 19 w 20"/>
                <a:gd name="T11" fmla="*/ 13 h 20"/>
                <a:gd name="T12" fmla="*/ 20 w 20"/>
                <a:gd name="T13" fmla="*/ 12 h 20"/>
                <a:gd name="T14" fmla="*/ 19 w 20"/>
                <a:gd name="T15" fmla="*/ 11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0">
                  <a:moveTo>
                    <a:pt x="19" y="11"/>
                  </a:moveTo>
                  <a:cubicBezTo>
                    <a:pt x="9" y="1"/>
                    <a:pt x="9" y="1"/>
                    <a:pt x="9" y="1"/>
                  </a:cubicBezTo>
                  <a:cubicBezTo>
                    <a:pt x="9" y="0"/>
                    <a:pt x="7" y="0"/>
                    <a:pt x="7" y="1"/>
                  </a:cubicBezTo>
                  <a:cubicBezTo>
                    <a:pt x="0" y="7"/>
                    <a:pt x="0" y="7"/>
                    <a:pt x="0" y="7"/>
                  </a:cubicBezTo>
                  <a:cubicBezTo>
                    <a:pt x="13" y="20"/>
                    <a:pt x="13" y="20"/>
                    <a:pt x="13" y="20"/>
                  </a:cubicBezTo>
                  <a:cubicBezTo>
                    <a:pt x="19" y="13"/>
                    <a:pt x="19" y="13"/>
                    <a:pt x="19" y="13"/>
                  </a:cubicBezTo>
                  <a:cubicBezTo>
                    <a:pt x="20" y="13"/>
                    <a:pt x="20" y="13"/>
                    <a:pt x="20" y="12"/>
                  </a:cubicBezTo>
                  <a:cubicBezTo>
                    <a:pt x="20" y="11"/>
                    <a:pt x="20" y="11"/>
                    <a:pt x="19"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 name="Freeform 73">
              <a:extLst>
                <a:ext uri="{FF2B5EF4-FFF2-40B4-BE49-F238E27FC236}">
                  <a16:creationId xmlns:a16="http://schemas.microsoft.com/office/drawing/2014/main" id="{8908649D-D8A3-49FF-AC2D-6DC4C8463608}"/>
                </a:ext>
              </a:extLst>
            </p:cNvPr>
            <p:cNvSpPr>
              <a:spLocks/>
            </p:cNvSpPr>
            <p:nvPr/>
          </p:nvSpPr>
          <p:spPr bwMode="auto">
            <a:xfrm>
              <a:off x="9340850" y="2468563"/>
              <a:ext cx="57150" cy="57150"/>
            </a:xfrm>
            <a:custGeom>
              <a:avLst/>
              <a:gdLst>
                <a:gd name="T0" fmla="*/ 2 w 15"/>
                <a:gd name="T1" fmla="*/ 7 h 15"/>
                <a:gd name="T2" fmla="*/ 2 w 15"/>
                <a:gd name="T3" fmla="*/ 7 h 15"/>
                <a:gd name="T4" fmla="*/ 0 w 15"/>
                <a:gd name="T5" fmla="*/ 12 h 15"/>
                <a:gd name="T6" fmla="*/ 1 w 15"/>
                <a:gd name="T7" fmla="*/ 14 h 15"/>
                <a:gd name="T8" fmla="*/ 3 w 15"/>
                <a:gd name="T9" fmla="*/ 15 h 15"/>
                <a:gd name="T10" fmla="*/ 15 w 15"/>
                <a:gd name="T11" fmla="*/ 11 h 15"/>
                <a:gd name="T12" fmla="*/ 4 w 15"/>
                <a:gd name="T13" fmla="*/ 0 h 15"/>
                <a:gd name="T14" fmla="*/ 2 w 15"/>
                <a:gd name="T15" fmla="*/ 7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2" y="7"/>
                  </a:moveTo>
                  <a:cubicBezTo>
                    <a:pt x="2" y="7"/>
                    <a:pt x="2" y="7"/>
                    <a:pt x="2" y="7"/>
                  </a:cubicBezTo>
                  <a:cubicBezTo>
                    <a:pt x="0" y="12"/>
                    <a:pt x="0" y="12"/>
                    <a:pt x="0" y="12"/>
                  </a:cubicBezTo>
                  <a:cubicBezTo>
                    <a:pt x="0" y="13"/>
                    <a:pt x="0" y="14"/>
                    <a:pt x="1" y="14"/>
                  </a:cubicBezTo>
                  <a:cubicBezTo>
                    <a:pt x="1" y="15"/>
                    <a:pt x="2" y="15"/>
                    <a:pt x="3" y="15"/>
                  </a:cubicBezTo>
                  <a:cubicBezTo>
                    <a:pt x="15" y="11"/>
                    <a:pt x="15" y="11"/>
                    <a:pt x="15" y="11"/>
                  </a:cubicBezTo>
                  <a:cubicBezTo>
                    <a:pt x="4" y="0"/>
                    <a:pt x="4" y="0"/>
                    <a:pt x="4" y="0"/>
                  </a:cubicBezTo>
                  <a:lnTo>
                    <a:pt x="2"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8" name="Freeform 74">
              <a:extLst>
                <a:ext uri="{FF2B5EF4-FFF2-40B4-BE49-F238E27FC236}">
                  <a16:creationId xmlns:a16="http://schemas.microsoft.com/office/drawing/2014/main" id="{2F45B535-53C4-4BB3-9A43-B6518F2F8CF0}"/>
                </a:ext>
              </a:extLst>
            </p:cNvPr>
            <p:cNvSpPr>
              <a:spLocks/>
            </p:cNvSpPr>
            <p:nvPr/>
          </p:nvSpPr>
          <p:spPr bwMode="auto">
            <a:xfrm>
              <a:off x="9364663" y="2382838"/>
              <a:ext cx="119063" cy="120650"/>
            </a:xfrm>
            <a:custGeom>
              <a:avLst/>
              <a:gdLst>
                <a:gd name="T0" fmla="*/ 0 w 75"/>
                <a:gd name="T1" fmla="*/ 45 h 76"/>
                <a:gd name="T2" fmla="*/ 30 w 75"/>
                <a:gd name="T3" fmla="*/ 76 h 76"/>
                <a:gd name="T4" fmla="*/ 75 w 75"/>
                <a:gd name="T5" fmla="*/ 30 h 76"/>
                <a:gd name="T6" fmla="*/ 45 w 75"/>
                <a:gd name="T7" fmla="*/ 0 h 76"/>
                <a:gd name="T8" fmla="*/ 0 w 75"/>
                <a:gd name="T9" fmla="*/ 45 h 76"/>
              </a:gdLst>
              <a:ahLst/>
              <a:cxnLst>
                <a:cxn ang="0">
                  <a:pos x="T0" y="T1"/>
                </a:cxn>
                <a:cxn ang="0">
                  <a:pos x="T2" y="T3"/>
                </a:cxn>
                <a:cxn ang="0">
                  <a:pos x="T4" y="T5"/>
                </a:cxn>
                <a:cxn ang="0">
                  <a:pos x="T6" y="T7"/>
                </a:cxn>
                <a:cxn ang="0">
                  <a:pos x="T8" y="T9"/>
                </a:cxn>
              </a:cxnLst>
              <a:rect l="0" t="0" r="r" b="b"/>
              <a:pathLst>
                <a:path w="75" h="76">
                  <a:moveTo>
                    <a:pt x="0" y="45"/>
                  </a:moveTo>
                  <a:lnTo>
                    <a:pt x="30" y="76"/>
                  </a:lnTo>
                  <a:lnTo>
                    <a:pt x="75" y="30"/>
                  </a:lnTo>
                  <a:lnTo>
                    <a:pt x="45" y="0"/>
                  </a:lnTo>
                  <a:lnTo>
                    <a:pt x="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25" name="Group 24">
            <a:extLst>
              <a:ext uri="{FF2B5EF4-FFF2-40B4-BE49-F238E27FC236}">
                <a16:creationId xmlns:a16="http://schemas.microsoft.com/office/drawing/2014/main" id="{2E181B9E-329C-48FF-B68C-0714AF5FD970}"/>
              </a:ext>
            </a:extLst>
          </p:cNvPr>
          <p:cNvGrpSpPr/>
          <p:nvPr/>
        </p:nvGrpSpPr>
        <p:grpSpPr>
          <a:xfrm>
            <a:off x="4911725" y="2137697"/>
            <a:ext cx="6670676" cy="430887"/>
            <a:chOff x="4911725" y="2108610"/>
            <a:chExt cx="6670676" cy="430887"/>
          </a:xfrm>
        </p:grpSpPr>
        <p:sp>
          <p:nvSpPr>
            <p:cNvPr id="19" name="Rectangle 18">
              <a:extLst>
                <a:ext uri="{FF2B5EF4-FFF2-40B4-BE49-F238E27FC236}">
                  <a16:creationId xmlns:a16="http://schemas.microsoft.com/office/drawing/2014/main" id="{5D6F9627-DD2A-418F-9FB1-59EDA3AF076F}"/>
                </a:ext>
              </a:extLst>
            </p:cNvPr>
            <p:cNvSpPr/>
            <p:nvPr/>
          </p:nvSpPr>
          <p:spPr>
            <a:xfrm>
              <a:off x="5435600" y="2108610"/>
              <a:ext cx="6146801" cy="430887"/>
            </a:xfrm>
            <a:prstGeom prst="rect">
              <a:avLst/>
            </a:prstGeom>
          </p:spPr>
          <p:txBody>
            <a:bodyPr wrap="square" lIns="0" tIns="0" rIns="0" bIns="0">
              <a:spAutoFit/>
            </a:bodyPr>
            <a:lstStyle/>
            <a:p>
              <a:r>
                <a:rPr lang="en-US" sz="1400" dirty="0"/>
                <a:t>We can conclude from our analysis that the best factors that we need to consider in</a:t>
              </a:r>
            </a:p>
            <a:p>
              <a:r>
                <a:rPr lang="en-US" sz="1400" dirty="0"/>
                <a:t>determining stroke is age, heart disease,  hypertension, BMI.</a:t>
              </a:r>
            </a:p>
          </p:txBody>
        </p:sp>
        <p:grpSp>
          <p:nvGrpSpPr>
            <p:cNvPr id="24" name="Group 23">
              <a:extLst>
                <a:ext uri="{FF2B5EF4-FFF2-40B4-BE49-F238E27FC236}">
                  <a16:creationId xmlns:a16="http://schemas.microsoft.com/office/drawing/2014/main" id="{B8C4FD4E-5B61-4F64-A78C-FA633DC9A8A4}"/>
                </a:ext>
              </a:extLst>
            </p:cNvPr>
            <p:cNvGrpSpPr/>
            <p:nvPr/>
          </p:nvGrpSpPr>
          <p:grpSpPr>
            <a:xfrm>
              <a:off x="4911725" y="2171653"/>
              <a:ext cx="379754" cy="304800"/>
              <a:chOff x="4911725" y="2222500"/>
              <a:chExt cx="379754" cy="304800"/>
            </a:xfrm>
          </p:grpSpPr>
          <p:sp>
            <p:nvSpPr>
              <p:cNvPr id="20" name="Oval 19">
                <a:extLst>
                  <a:ext uri="{FF2B5EF4-FFF2-40B4-BE49-F238E27FC236}">
                    <a16:creationId xmlns:a16="http://schemas.microsoft.com/office/drawing/2014/main" id="{E2826D37-A47D-438A-B760-3A83D8237726}"/>
                  </a:ext>
                </a:extLst>
              </p:cNvPr>
              <p:cNvSpPr/>
              <p:nvPr/>
            </p:nvSpPr>
            <p:spPr>
              <a:xfrm>
                <a:off x="4911725" y="2222500"/>
                <a:ext cx="304800" cy="3048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Top Corners Rounded 21">
                <a:extLst>
                  <a:ext uri="{FF2B5EF4-FFF2-40B4-BE49-F238E27FC236}">
                    <a16:creationId xmlns:a16="http://schemas.microsoft.com/office/drawing/2014/main" id="{8BD42D57-AD82-4318-98AA-6CA5DE0E9969}"/>
                  </a:ext>
                </a:extLst>
              </p:cNvPr>
              <p:cNvSpPr/>
              <p:nvPr/>
            </p:nvSpPr>
            <p:spPr>
              <a:xfrm rot="5400000">
                <a:off x="5067155" y="2342953"/>
                <a:ext cx="193674" cy="63896"/>
              </a:xfrm>
              <a:prstGeom prst="round2SameRect">
                <a:avLst>
                  <a:gd name="adj1" fmla="val 50000"/>
                  <a:gd name="adj2" fmla="val 0"/>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Isosceles Triangle 20">
                <a:extLst>
                  <a:ext uri="{FF2B5EF4-FFF2-40B4-BE49-F238E27FC236}">
                    <a16:creationId xmlns:a16="http://schemas.microsoft.com/office/drawing/2014/main" id="{0C42278B-1FBB-45F7-8F1B-0F911C6CC342}"/>
                  </a:ext>
                </a:extLst>
              </p:cNvPr>
              <p:cNvSpPr/>
              <p:nvPr/>
            </p:nvSpPr>
            <p:spPr>
              <a:xfrm rot="5400000">
                <a:off x="5119290" y="2295184"/>
                <a:ext cx="184944" cy="159435"/>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Isosceles Triangle 22">
                <a:extLst>
                  <a:ext uri="{FF2B5EF4-FFF2-40B4-BE49-F238E27FC236}">
                    <a16:creationId xmlns:a16="http://schemas.microsoft.com/office/drawing/2014/main" id="{10AE614F-FA75-4779-8DE4-E62ECDBDA351}"/>
                  </a:ext>
                </a:extLst>
              </p:cNvPr>
              <p:cNvSpPr/>
              <p:nvPr/>
            </p:nvSpPr>
            <p:spPr>
              <a:xfrm rot="5400000">
                <a:off x="5068062" y="2321225"/>
                <a:ext cx="127066" cy="10954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6" name="Group 25">
            <a:extLst>
              <a:ext uri="{FF2B5EF4-FFF2-40B4-BE49-F238E27FC236}">
                <a16:creationId xmlns:a16="http://schemas.microsoft.com/office/drawing/2014/main" id="{B80358DE-7FE0-4DA0-B97F-BC9A33E2283C}"/>
              </a:ext>
            </a:extLst>
          </p:cNvPr>
          <p:cNvGrpSpPr/>
          <p:nvPr/>
        </p:nvGrpSpPr>
        <p:grpSpPr>
          <a:xfrm>
            <a:off x="4911725" y="2935955"/>
            <a:ext cx="6670676" cy="861774"/>
            <a:chOff x="4911725" y="2092737"/>
            <a:chExt cx="6670676" cy="861774"/>
          </a:xfrm>
        </p:grpSpPr>
        <p:sp>
          <p:nvSpPr>
            <p:cNvPr id="27" name="Rectangle 26">
              <a:extLst>
                <a:ext uri="{FF2B5EF4-FFF2-40B4-BE49-F238E27FC236}">
                  <a16:creationId xmlns:a16="http://schemas.microsoft.com/office/drawing/2014/main" id="{1400DC46-1CB6-4F28-A173-A6D4E8539FF7}"/>
                </a:ext>
              </a:extLst>
            </p:cNvPr>
            <p:cNvSpPr/>
            <p:nvPr/>
          </p:nvSpPr>
          <p:spPr>
            <a:xfrm>
              <a:off x="5435600" y="2092737"/>
              <a:ext cx="6146801" cy="861774"/>
            </a:xfrm>
            <a:prstGeom prst="rect">
              <a:avLst/>
            </a:prstGeom>
          </p:spPr>
          <p:txBody>
            <a:bodyPr wrap="square" lIns="0" tIns="0" rIns="0" bIns="0">
              <a:spAutoFit/>
            </a:bodyPr>
            <a:lstStyle/>
            <a:p>
              <a:r>
                <a:rPr lang="en-US" sz="1400" dirty="0"/>
                <a:t>From our analysis we can conclude that the best model with the best parameters is the Support Vector Machine Model in determining stroke as it has 94 percent stroke. This can also be seen through grid search and cross validations performed. The  parameters are C:1,’Kernel’rbf.</a:t>
              </a:r>
            </a:p>
          </p:txBody>
        </p:sp>
        <p:grpSp>
          <p:nvGrpSpPr>
            <p:cNvPr id="28" name="Group 27">
              <a:extLst>
                <a:ext uri="{FF2B5EF4-FFF2-40B4-BE49-F238E27FC236}">
                  <a16:creationId xmlns:a16="http://schemas.microsoft.com/office/drawing/2014/main" id="{85AC496F-DD91-4DA1-8BE4-284283E9A515}"/>
                </a:ext>
              </a:extLst>
            </p:cNvPr>
            <p:cNvGrpSpPr/>
            <p:nvPr/>
          </p:nvGrpSpPr>
          <p:grpSpPr>
            <a:xfrm>
              <a:off x="4911725" y="2171653"/>
              <a:ext cx="379754" cy="304800"/>
              <a:chOff x="4911725" y="2222500"/>
              <a:chExt cx="379754" cy="304800"/>
            </a:xfrm>
          </p:grpSpPr>
          <p:sp>
            <p:nvSpPr>
              <p:cNvPr id="29" name="Oval 28">
                <a:extLst>
                  <a:ext uri="{FF2B5EF4-FFF2-40B4-BE49-F238E27FC236}">
                    <a16:creationId xmlns:a16="http://schemas.microsoft.com/office/drawing/2014/main" id="{196B42B2-8F72-46B4-BB6B-56514B097A0F}"/>
                  </a:ext>
                </a:extLst>
              </p:cNvPr>
              <p:cNvSpPr/>
              <p:nvPr/>
            </p:nvSpPr>
            <p:spPr>
              <a:xfrm>
                <a:off x="4911725" y="2222500"/>
                <a:ext cx="304800" cy="3048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Top Corners Rounded 29">
                <a:extLst>
                  <a:ext uri="{FF2B5EF4-FFF2-40B4-BE49-F238E27FC236}">
                    <a16:creationId xmlns:a16="http://schemas.microsoft.com/office/drawing/2014/main" id="{B5BC2749-8958-470C-B99A-6BD4BEE25600}"/>
                  </a:ext>
                </a:extLst>
              </p:cNvPr>
              <p:cNvSpPr/>
              <p:nvPr/>
            </p:nvSpPr>
            <p:spPr>
              <a:xfrm rot="5400000">
                <a:off x="5067155" y="2342953"/>
                <a:ext cx="193674" cy="63896"/>
              </a:xfrm>
              <a:prstGeom prst="round2SameRect">
                <a:avLst>
                  <a:gd name="adj1" fmla="val 50000"/>
                  <a:gd name="adj2" fmla="val 0"/>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Isosceles Triangle 30">
                <a:extLst>
                  <a:ext uri="{FF2B5EF4-FFF2-40B4-BE49-F238E27FC236}">
                    <a16:creationId xmlns:a16="http://schemas.microsoft.com/office/drawing/2014/main" id="{6C44C614-2C6C-44BB-9B27-C97A1E92145D}"/>
                  </a:ext>
                </a:extLst>
              </p:cNvPr>
              <p:cNvSpPr/>
              <p:nvPr/>
            </p:nvSpPr>
            <p:spPr>
              <a:xfrm rot="5400000">
                <a:off x="5119290" y="2295184"/>
                <a:ext cx="184944" cy="159435"/>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Isosceles Triangle 31">
                <a:extLst>
                  <a:ext uri="{FF2B5EF4-FFF2-40B4-BE49-F238E27FC236}">
                    <a16:creationId xmlns:a16="http://schemas.microsoft.com/office/drawing/2014/main" id="{2037CBF3-F247-498F-8DD7-5910803D20F5}"/>
                  </a:ext>
                </a:extLst>
              </p:cNvPr>
              <p:cNvSpPr/>
              <p:nvPr/>
            </p:nvSpPr>
            <p:spPr>
              <a:xfrm rot="5400000">
                <a:off x="5068062" y="2321225"/>
                <a:ext cx="127066" cy="10954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3" name="Group 32">
            <a:extLst>
              <a:ext uri="{FF2B5EF4-FFF2-40B4-BE49-F238E27FC236}">
                <a16:creationId xmlns:a16="http://schemas.microsoft.com/office/drawing/2014/main" id="{1E7FAB7B-0366-450D-A4A9-06073DBD8A80}"/>
              </a:ext>
            </a:extLst>
          </p:cNvPr>
          <p:cNvGrpSpPr/>
          <p:nvPr/>
        </p:nvGrpSpPr>
        <p:grpSpPr>
          <a:xfrm>
            <a:off x="4911725" y="3829002"/>
            <a:ext cx="6696076" cy="743141"/>
            <a:chOff x="4911725" y="2171653"/>
            <a:chExt cx="6696076" cy="743141"/>
          </a:xfrm>
        </p:grpSpPr>
        <p:sp>
          <p:nvSpPr>
            <p:cNvPr id="34" name="Rectangle 33">
              <a:extLst>
                <a:ext uri="{FF2B5EF4-FFF2-40B4-BE49-F238E27FC236}">
                  <a16:creationId xmlns:a16="http://schemas.microsoft.com/office/drawing/2014/main" id="{A70A8568-9E0A-4D6C-AF7C-A779549C350A}"/>
                </a:ext>
              </a:extLst>
            </p:cNvPr>
            <p:cNvSpPr/>
            <p:nvPr/>
          </p:nvSpPr>
          <p:spPr>
            <a:xfrm>
              <a:off x="5461000" y="2268463"/>
              <a:ext cx="6146801" cy="646331"/>
            </a:xfrm>
            <a:prstGeom prst="rect">
              <a:avLst/>
            </a:prstGeom>
          </p:spPr>
          <p:txBody>
            <a:bodyPr wrap="square" lIns="0" tIns="0" rIns="0" bIns="0">
              <a:spAutoFit/>
            </a:bodyPr>
            <a:lstStyle/>
            <a:p>
              <a:r>
                <a:rPr lang="en-US" sz="1400" dirty="0"/>
                <a:t>The limitations of the data set are that it contains only 11 features . They are important features, but with having another 10 to 20 features a process of elimination can be performed and the best features can be chosen.</a:t>
              </a:r>
            </a:p>
          </p:txBody>
        </p:sp>
        <p:grpSp>
          <p:nvGrpSpPr>
            <p:cNvPr id="35" name="Group 34">
              <a:extLst>
                <a:ext uri="{FF2B5EF4-FFF2-40B4-BE49-F238E27FC236}">
                  <a16:creationId xmlns:a16="http://schemas.microsoft.com/office/drawing/2014/main" id="{3212686E-0DAC-4468-A035-77BCC7E844E7}"/>
                </a:ext>
              </a:extLst>
            </p:cNvPr>
            <p:cNvGrpSpPr/>
            <p:nvPr/>
          </p:nvGrpSpPr>
          <p:grpSpPr>
            <a:xfrm>
              <a:off x="4911725" y="2171653"/>
              <a:ext cx="379754" cy="304800"/>
              <a:chOff x="4911725" y="2222500"/>
              <a:chExt cx="379754" cy="304800"/>
            </a:xfrm>
          </p:grpSpPr>
          <p:sp>
            <p:nvSpPr>
              <p:cNvPr id="36" name="Oval 35">
                <a:extLst>
                  <a:ext uri="{FF2B5EF4-FFF2-40B4-BE49-F238E27FC236}">
                    <a16:creationId xmlns:a16="http://schemas.microsoft.com/office/drawing/2014/main" id="{52E004BC-6894-4C2B-A070-45859714BEC7}"/>
                  </a:ext>
                </a:extLst>
              </p:cNvPr>
              <p:cNvSpPr/>
              <p:nvPr/>
            </p:nvSpPr>
            <p:spPr>
              <a:xfrm>
                <a:off x="4911725" y="2222500"/>
                <a:ext cx="304800" cy="3048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ectangle: Top Corners Rounded 36">
                <a:extLst>
                  <a:ext uri="{FF2B5EF4-FFF2-40B4-BE49-F238E27FC236}">
                    <a16:creationId xmlns:a16="http://schemas.microsoft.com/office/drawing/2014/main" id="{1221C558-72F7-4D22-A66A-F63D62602B48}"/>
                  </a:ext>
                </a:extLst>
              </p:cNvPr>
              <p:cNvSpPr/>
              <p:nvPr/>
            </p:nvSpPr>
            <p:spPr>
              <a:xfrm rot="5400000">
                <a:off x="5067155" y="2342953"/>
                <a:ext cx="193674" cy="63896"/>
              </a:xfrm>
              <a:prstGeom prst="round2SameRect">
                <a:avLst>
                  <a:gd name="adj1" fmla="val 50000"/>
                  <a:gd name="adj2" fmla="val 0"/>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Isosceles Triangle 37">
                <a:extLst>
                  <a:ext uri="{FF2B5EF4-FFF2-40B4-BE49-F238E27FC236}">
                    <a16:creationId xmlns:a16="http://schemas.microsoft.com/office/drawing/2014/main" id="{ED17C36D-5E53-4F18-BBD4-86A51BA63B2E}"/>
                  </a:ext>
                </a:extLst>
              </p:cNvPr>
              <p:cNvSpPr/>
              <p:nvPr/>
            </p:nvSpPr>
            <p:spPr>
              <a:xfrm rot="5400000">
                <a:off x="5119290" y="2295184"/>
                <a:ext cx="184944" cy="159435"/>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Isosceles Triangle 38">
                <a:extLst>
                  <a:ext uri="{FF2B5EF4-FFF2-40B4-BE49-F238E27FC236}">
                    <a16:creationId xmlns:a16="http://schemas.microsoft.com/office/drawing/2014/main" id="{2EBF2114-E17C-48B3-985C-14D1CBBE0A8A}"/>
                  </a:ext>
                </a:extLst>
              </p:cNvPr>
              <p:cNvSpPr/>
              <p:nvPr/>
            </p:nvSpPr>
            <p:spPr>
              <a:xfrm rot="5400000">
                <a:off x="5068062" y="2321225"/>
                <a:ext cx="127066" cy="10954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40" name="Group 39">
            <a:extLst>
              <a:ext uri="{FF2B5EF4-FFF2-40B4-BE49-F238E27FC236}">
                <a16:creationId xmlns:a16="http://schemas.microsoft.com/office/drawing/2014/main" id="{8578B2A0-E042-43F3-B80E-0C9868058C5D}"/>
              </a:ext>
            </a:extLst>
          </p:cNvPr>
          <p:cNvGrpSpPr/>
          <p:nvPr/>
        </p:nvGrpSpPr>
        <p:grpSpPr>
          <a:xfrm>
            <a:off x="4911725" y="4643133"/>
            <a:ext cx="6700757" cy="527698"/>
            <a:chOff x="4911725" y="2171653"/>
            <a:chExt cx="6700757" cy="527698"/>
          </a:xfrm>
        </p:grpSpPr>
        <p:sp>
          <p:nvSpPr>
            <p:cNvPr id="41" name="Rectangle 40">
              <a:extLst>
                <a:ext uri="{FF2B5EF4-FFF2-40B4-BE49-F238E27FC236}">
                  <a16:creationId xmlns:a16="http://schemas.microsoft.com/office/drawing/2014/main" id="{448DE759-3039-4746-9203-8CC89518B968}"/>
                </a:ext>
              </a:extLst>
            </p:cNvPr>
            <p:cNvSpPr/>
            <p:nvPr/>
          </p:nvSpPr>
          <p:spPr>
            <a:xfrm>
              <a:off x="5465681" y="2268464"/>
              <a:ext cx="6146801" cy="430887"/>
            </a:xfrm>
            <a:prstGeom prst="rect">
              <a:avLst/>
            </a:prstGeom>
          </p:spPr>
          <p:txBody>
            <a:bodyPr wrap="square" lIns="0" tIns="0" rIns="0" bIns="0">
              <a:spAutoFit/>
            </a:bodyPr>
            <a:lstStyle/>
            <a:p>
              <a:r>
                <a:rPr lang="en-US" sz="1400" dirty="0"/>
                <a:t>The next steps that we can take with the data set is using neural networks, deep learning  in order to detect stroke in a more profound way.</a:t>
              </a:r>
            </a:p>
          </p:txBody>
        </p:sp>
        <p:grpSp>
          <p:nvGrpSpPr>
            <p:cNvPr id="42" name="Group 41">
              <a:extLst>
                <a:ext uri="{FF2B5EF4-FFF2-40B4-BE49-F238E27FC236}">
                  <a16:creationId xmlns:a16="http://schemas.microsoft.com/office/drawing/2014/main" id="{03B6ECAE-E7D6-41B3-8EC9-9903AF10AA23}"/>
                </a:ext>
              </a:extLst>
            </p:cNvPr>
            <p:cNvGrpSpPr/>
            <p:nvPr/>
          </p:nvGrpSpPr>
          <p:grpSpPr>
            <a:xfrm>
              <a:off x="4911725" y="2171653"/>
              <a:ext cx="379754" cy="304800"/>
              <a:chOff x="4911725" y="2222500"/>
              <a:chExt cx="379754" cy="304800"/>
            </a:xfrm>
          </p:grpSpPr>
          <p:sp>
            <p:nvSpPr>
              <p:cNvPr id="43" name="Oval 42">
                <a:extLst>
                  <a:ext uri="{FF2B5EF4-FFF2-40B4-BE49-F238E27FC236}">
                    <a16:creationId xmlns:a16="http://schemas.microsoft.com/office/drawing/2014/main" id="{A6CDDE7D-ACA7-4BD4-8E20-040B1CF64916}"/>
                  </a:ext>
                </a:extLst>
              </p:cNvPr>
              <p:cNvSpPr/>
              <p:nvPr/>
            </p:nvSpPr>
            <p:spPr>
              <a:xfrm>
                <a:off x="4911725" y="2222500"/>
                <a:ext cx="304800" cy="3048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Rectangle: Top Corners Rounded 43">
                <a:extLst>
                  <a:ext uri="{FF2B5EF4-FFF2-40B4-BE49-F238E27FC236}">
                    <a16:creationId xmlns:a16="http://schemas.microsoft.com/office/drawing/2014/main" id="{8F26CC45-8445-49A1-B554-6AC3A2983345}"/>
                  </a:ext>
                </a:extLst>
              </p:cNvPr>
              <p:cNvSpPr/>
              <p:nvPr/>
            </p:nvSpPr>
            <p:spPr>
              <a:xfrm rot="5400000">
                <a:off x="5067155" y="2342953"/>
                <a:ext cx="193674" cy="63896"/>
              </a:xfrm>
              <a:prstGeom prst="round2SameRect">
                <a:avLst>
                  <a:gd name="adj1" fmla="val 50000"/>
                  <a:gd name="adj2" fmla="val 0"/>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Isosceles Triangle 44">
                <a:extLst>
                  <a:ext uri="{FF2B5EF4-FFF2-40B4-BE49-F238E27FC236}">
                    <a16:creationId xmlns:a16="http://schemas.microsoft.com/office/drawing/2014/main" id="{7A69FD42-1BD0-463B-A50A-278C72A5BA4A}"/>
                  </a:ext>
                </a:extLst>
              </p:cNvPr>
              <p:cNvSpPr/>
              <p:nvPr/>
            </p:nvSpPr>
            <p:spPr>
              <a:xfrm rot="5400000">
                <a:off x="5119290" y="2295184"/>
                <a:ext cx="184944" cy="159435"/>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Isosceles Triangle 45">
                <a:extLst>
                  <a:ext uri="{FF2B5EF4-FFF2-40B4-BE49-F238E27FC236}">
                    <a16:creationId xmlns:a16="http://schemas.microsoft.com/office/drawing/2014/main" id="{8496F3C4-5C8E-4360-A917-BDA1B2C150DB}"/>
                  </a:ext>
                </a:extLst>
              </p:cNvPr>
              <p:cNvSpPr/>
              <p:nvPr/>
            </p:nvSpPr>
            <p:spPr>
              <a:xfrm rot="5400000">
                <a:off x="5068062" y="2321225"/>
                <a:ext cx="127066" cy="10954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47" name="Group 46">
            <a:extLst>
              <a:ext uri="{FF2B5EF4-FFF2-40B4-BE49-F238E27FC236}">
                <a16:creationId xmlns:a16="http://schemas.microsoft.com/office/drawing/2014/main" id="{DCCA5244-7CE1-4C00-89CF-F460567C02F3}"/>
              </a:ext>
            </a:extLst>
          </p:cNvPr>
          <p:cNvGrpSpPr/>
          <p:nvPr/>
        </p:nvGrpSpPr>
        <p:grpSpPr>
          <a:xfrm>
            <a:off x="4911725" y="5394222"/>
            <a:ext cx="6670676" cy="646331"/>
            <a:chOff x="4911725" y="2108610"/>
            <a:chExt cx="6670676" cy="646331"/>
          </a:xfrm>
        </p:grpSpPr>
        <p:sp>
          <p:nvSpPr>
            <p:cNvPr id="48" name="Rectangle 47">
              <a:extLst>
                <a:ext uri="{FF2B5EF4-FFF2-40B4-BE49-F238E27FC236}">
                  <a16:creationId xmlns:a16="http://schemas.microsoft.com/office/drawing/2014/main" id="{0E025770-E015-4BB1-98EE-B935D370CDAD}"/>
                </a:ext>
              </a:extLst>
            </p:cNvPr>
            <p:cNvSpPr/>
            <p:nvPr/>
          </p:nvSpPr>
          <p:spPr>
            <a:xfrm>
              <a:off x="5435600" y="2108610"/>
              <a:ext cx="6146801" cy="646331"/>
            </a:xfrm>
            <a:prstGeom prst="rect">
              <a:avLst/>
            </a:prstGeom>
          </p:spPr>
          <p:txBody>
            <a:bodyPr wrap="square" lIns="0" tIns="0" rIns="0" bIns="0">
              <a:spAutoFit/>
            </a:bodyPr>
            <a:lstStyle/>
            <a:p>
              <a:r>
                <a:rPr lang="en-US" sz="1400" dirty="0"/>
                <a:t>The future for detecting stroke and helping the community in treating this illness can be done by using images of strokes  and then performing analysis on it using  AI. So, stroke can be detected easily and treated.</a:t>
              </a:r>
            </a:p>
          </p:txBody>
        </p:sp>
        <p:grpSp>
          <p:nvGrpSpPr>
            <p:cNvPr id="49" name="Group 48">
              <a:extLst>
                <a:ext uri="{FF2B5EF4-FFF2-40B4-BE49-F238E27FC236}">
                  <a16:creationId xmlns:a16="http://schemas.microsoft.com/office/drawing/2014/main" id="{7C9C78A1-1F18-4D6D-8E57-36317A5B7E5E}"/>
                </a:ext>
              </a:extLst>
            </p:cNvPr>
            <p:cNvGrpSpPr/>
            <p:nvPr/>
          </p:nvGrpSpPr>
          <p:grpSpPr>
            <a:xfrm>
              <a:off x="4911725" y="2171653"/>
              <a:ext cx="379754" cy="304800"/>
              <a:chOff x="4911725" y="2222500"/>
              <a:chExt cx="379754" cy="304800"/>
            </a:xfrm>
          </p:grpSpPr>
          <p:sp>
            <p:nvSpPr>
              <p:cNvPr id="50" name="Oval 49">
                <a:extLst>
                  <a:ext uri="{FF2B5EF4-FFF2-40B4-BE49-F238E27FC236}">
                    <a16:creationId xmlns:a16="http://schemas.microsoft.com/office/drawing/2014/main" id="{B621523B-F035-403E-A525-9646B34DDD59}"/>
                  </a:ext>
                </a:extLst>
              </p:cNvPr>
              <p:cNvSpPr/>
              <p:nvPr/>
            </p:nvSpPr>
            <p:spPr>
              <a:xfrm>
                <a:off x="4911725" y="2222500"/>
                <a:ext cx="304800" cy="3048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Rectangle: Top Corners Rounded 50">
                <a:extLst>
                  <a:ext uri="{FF2B5EF4-FFF2-40B4-BE49-F238E27FC236}">
                    <a16:creationId xmlns:a16="http://schemas.microsoft.com/office/drawing/2014/main" id="{8D545BD3-58DE-4FC6-A749-737AC6139BE3}"/>
                  </a:ext>
                </a:extLst>
              </p:cNvPr>
              <p:cNvSpPr/>
              <p:nvPr/>
            </p:nvSpPr>
            <p:spPr>
              <a:xfrm rot="5400000">
                <a:off x="5067155" y="2342953"/>
                <a:ext cx="193674" cy="63896"/>
              </a:xfrm>
              <a:prstGeom prst="round2SameRect">
                <a:avLst>
                  <a:gd name="adj1" fmla="val 50000"/>
                  <a:gd name="adj2" fmla="val 0"/>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Isosceles Triangle 51">
                <a:extLst>
                  <a:ext uri="{FF2B5EF4-FFF2-40B4-BE49-F238E27FC236}">
                    <a16:creationId xmlns:a16="http://schemas.microsoft.com/office/drawing/2014/main" id="{E9A083F0-8033-4A68-9F9E-42F3C27CFBCD}"/>
                  </a:ext>
                </a:extLst>
              </p:cNvPr>
              <p:cNvSpPr/>
              <p:nvPr/>
            </p:nvSpPr>
            <p:spPr>
              <a:xfrm rot="5400000">
                <a:off x="5119290" y="2295184"/>
                <a:ext cx="184944" cy="159435"/>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Isosceles Triangle 52">
                <a:extLst>
                  <a:ext uri="{FF2B5EF4-FFF2-40B4-BE49-F238E27FC236}">
                    <a16:creationId xmlns:a16="http://schemas.microsoft.com/office/drawing/2014/main" id="{2FD145D3-F032-4110-B5AE-24EEFAE4BF88}"/>
                  </a:ext>
                </a:extLst>
              </p:cNvPr>
              <p:cNvSpPr/>
              <p:nvPr/>
            </p:nvSpPr>
            <p:spPr>
              <a:xfrm rot="5400000">
                <a:off x="5068062" y="2321225"/>
                <a:ext cx="127066" cy="10954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58" name="Straight Connector 57">
            <a:extLst>
              <a:ext uri="{FF2B5EF4-FFF2-40B4-BE49-F238E27FC236}">
                <a16:creationId xmlns:a16="http://schemas.microsoft.com/office/drawing/2014/main" id="{8EE2274C-E216-46E6-9984-EBFFA630B138}"/>
              </a:ext>
            </a:extLst>
          </p:cNvPr>
          <p:cNvCxnSpPr>
            <a:cxnSpLocks/>
          </p:cNvCxnSpPr>
          <p:nvPr/>
        </p:nvCxnSpPr>
        <p:spPr>
          <a:xfrm>
            <a:off x="5461000" y="2760206"/>
            <a:ext cx="674083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5CEFE62-F4AE-435B-ADA2-3BFAE6D97F54}"/>
              </a:ext>
            </a:extLst>
          </p:cNvPr>
          <p:cNvCxnSpPr>
            <a:cxnSpLocks/>
          </p:cNvCxnSpPr>
          <p:nvPr/>
        </p:nvCxnSpPr>
        <p:spPr>
          <a:xfrm>
            <a:off x="5461000" y="3574337"/>
            <a:ext cx="674083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0F98B464-6848-4A75-8586-DF8D0BDD98C0}"/>
              </a:ext>
            </a:extLst>
          </p:cNvPr>
          <p:cNvCxnSpPr>
            <a:cxnSpLocks/>
          </p:cNvCxnSpPr>
          <p:nvPr/>
        </p:nvCxnSpPr>
        <p:spPr>
          <a:xfrm>
            <a:off x="5461000" y="4388468"/>
            <a:ext cx="674083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9F02B74C-EED4-4408-AD9C-B0D067B9F596}"/>
              </a:ext>
            </a:extLst>
          </p:cNvPr>
          <p:cNvCxnSpPr>
            <a:cxnSpLocks/>
          </p:cNvCxnSpPr>
          <p:nvPr/>
        </p:nvCxnSpPr>
        <p:spPr>
          <a:xfrm>
            <a:off x="5461000" y="5170831"/>
            <a:ext cx="674083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5677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9" name="Rectangle 6">
            <a:extLst>
              <a:ext uri="{FF2B5EF4-FFF2-40B4-BE49-F238E27FC236}">
                <a16:creationId xmlns:a16="http://schemas.microsoft.com/office/drawing/2014/main" id="{73F466E3-4A1C-4F3C-8D41-557D758E8F2B}"/>
              </a:ext>
            </a:extLst>
          </p:cNvPr>
          <p:cNvSpPr/>
          <p:nvPr/>
        </p:nvSpPr>
        <p:spPr>
          <a:xfrm>
            <a:off x="355600"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 fmla="*/ 0 w 6270171"/>
              <a:gd name="connsiteY0" fmla="*/ 0 h 6858000"/>
              <a:gd name="connsiteX1" fmla="*/ 6270171 w 6270171"/>
              <a:gd name="connsiteY1" fmla="*/ 0 h 6858000"/>
              <a:gd name="connsiteX2" fmla="*/ 6255657 w 6270171"/>
              <a:gd name="connsiteY2" fmla="*/ 3352800 h 6858000"/>
              <a:gd name="connsiteX3" fmla="*/ 6270171 w 6270171"/>
              <a:gd name="connsiteY3" fmla="*/ 6858000 h 6858000"/>
              <a:gd name="connsiteX4" fmla="*/ 0 w 6270171"/>
              <a:gd name="connsiteY4" fmla="*/ 6858000 h 6858000"/>
              <a:gd name="connsiteX5" fmla="*/ 0 w 6270171"/>
              <a:gd name="connsiteY5" fmla="*/ 0 h 6858000"/>
              <a:gd name="connsiteX0" fmla="*/ 0 w 6729819"/>
              <a:gd name="connsiteY0" fmla="*/ 0 h 6858000"/>
              <a:gd name="connsiteX1" fmla="*/ 6270171 w 6729819"/>
              <a:gd name="connsiteY1" fmla="*/ 0 h 6858000"/>
              <a:gd name="connsiteX2" fmla="*/ 6255657 w 6729819"/>
              <a:gd name="connsiteY2" fmla="*/ 3352800 h 6858000"/>
              <a:gd name="connsiteX3" fmla="*/ 6270171 w 6729819"/>
              <a:gd name="connsiteY3" fmla="*/ 6858000 h 6858000"/>
              <a:gd name="connsiteX4" fmla="*/ 0 w 6729819"/>
              <a:gd name="connsiteY4" fmla="*/ 6858000 h 6858000"/>
              <a:gd name="connsiteX5" fmla="*/ 0 w 6729819"/>
              <a:gd name="connsiteY5" fmla="*/ 0 h 6858000"/>
              <a:gd name="connsiteX0" fmla="*/ 0 w 6526122"/>
              <a:gd name="connsiteY0" fmla="*/ 0 h 6858000"/>
              <a:gd name="connsiteX1" fmla="*/ 6270171 w 6526122"/>
              <a:gd name="connsiteY1" fmla="*/ 0 h 6858000"/>
              <a:gd name="connsiteX2" fmla="*/ 4833257 w 6526122"/>
              <a:gd name="connsiteY2" fmla="*/ 3468914 h 6858000"/>
              <a:gd name="connsiteX3" fmla="*/ 6270171 w 6526122"/>
              <a:gd name="connsiteY3" fmla="*/ 6858000 h 6858000"/>
              <a:gd name="connsiteX4" fmla="*/ 0 w 6526122"/>
              <a:gd name="connsiteY4" fmla="*/ 6858000 h 6858000"/>
              <a:gd name="connsiteX5" fmla="*/ 0 w 6526122"/>
              <a:gd name="connsiteY5" fmla="*/ 0 h 6858000"/>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 name="connsiteX5" fmla="*/ 0 w 6539571"/>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6">
            <a:extLst>
              <a:ext uri="{FF2B5EF4-FFF2-40B4-BE49-F238E27FC236}">
                <a16:creationId xmlns:a16="http://schemas.microsoft.com/office/drawing/2014/main" id="{8B55C193-579B-41F1-8950-EE0561C0E521}"/>
              </a:ext>
            </a:extLst>
          </p:cNvPr>
          <p:cNvSpPr/>
          <p:nvPr/>
        </p:nvSpPr>
        <p:spPr>
          <a:xfrm>
            <a:off x="222250"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 fmla="*/ 0 w 6270171"/>
              <a:gd name="connsiteY0" fmla="*/ 0 h 6858000"/>
              <a:gd name="connsiteX1" fmla="*/ 6270171 w 6270171"/>
              <a:gd name="connsiteY1" fmla="*/ 0 h 6858000"/>
              <a:gd name="connsiteX2" fmla="*/ 6255657 w 6270171"/>
              <a:gd name="connsiteY2" fmla="*/ 3352800 h 6858000"/>
              <a:gd name="connsiteX3" fmla="*/ 6270171 w 6270171"/>
              <a:gd name="connsiteY3" fmla="*/ 6858000 h 6858000"/>
              <a:gd name="connsiteX4" fmla="*/ 0 w 6270171"/>
              <a:gd name="connsiteY4" fmla="*/ 6858000 h 6858000"/>
              <a:gd name="connsiteX5" fmla="*/ 0 w 6270171"/>
              <a:gd name="connsiteY5" fmla="*/ 0 h 6858000"/>
              <a:gd name="connsiteX0" fmla="*/ 0 w 6729819"/>
              <a:gd name="connsiteY0" fmla="*/ 0 h 6858000"/>
              <a:gd name="connsiteX1" fmla="*/ 6270171 w 6729819"/>
              <a:gd name="connsiteY1" fmla="*/ 0 h 6858000"/>
              <a:gd name="connsiteX2" fmla="*/ 6255657 w 6729819"/>
              <a:gd name="connsiteY2" fmla="*/ 3352800 h 6858000"/>
              <a:gd name="connsiteX3" fmla="*/ 6270171 w 6729819"/>
              <a:gd name="connsiteY3" fmla="*/ 6858000 h 6858000"/>
              <a:gd name="connsiteX4" fmla="*/ 0 w 6729819"/>
              <a:gd name="connsiteY4" fmla="*/ 6858000 h 6858000"/>
              <a:gd name="connsiteX5" fmla="*/ 0 w 6729819"/>
              <a:gd name="connsiteY5" fmla="*/ 0 h 6858000"/>
              <a:gd name="connsiteX0" fmla="*/ 0 w 6526122"/>
              <a:gd name="connsiteY0" fmla="*/ 0 h 6858000"/>
              <a:gd name="connsiteX1" fmla="*/ 6270171 w 6526122"/>
              <a:gd name="connsiteY1" fmla="*/ 0 h 6858000"/>
              <a:gd name="connsiteX2" fmla="*/ 4833257 w 6526122"/>
              <a:gd name="connsiteY2" fmla="*/ 3468914 h 6858000"/>
              <a:gd name="connsiteX3" fmla="*/ 6270171 w 6526122"/>
              <a:gd name="connsiteY3" fmla="*/ 6858000 h 6858000"/>
              <a:gd name="connsiteX4" fmla="*/ 0 w 6526122"/>
              <a:gd name="connsiteY4" fmla="*/ 6858000 h 6858000"/>
              <a:gd name="connsiteX5" fmla="*/ 0 w 6526122"/>
              <a:gd name="connsiteY5" fmla="*/ 0 h 6858000"/>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 name="connsiteX5" fmla="*/ 0 w 6539571"/>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6">
            <a:extLst>
              <a:ext uri="{FF2B5EF4-FFF2-40B4-BE49-F238E27FC236}">
                <a16:creationId xmlns:a16="http://schemas.microsoft.com/office/drawing/2014/main" id="{B5C70F30-87F9-49E7-946B-AEFA22A72569}"/>
              </a:ext>
            </a:extLst>
          </p:cNvPr>
          <p:cNvSpPr/>
          <p:nvPr/>
        </p:nvSpPr>
        <p:spPr>
          <a:xfrm>
            <a:off x="88900"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 fmla="*/ 0 w 6270171"/>
              <a:gd name="connsiteY0" fmla="*/ 0 h 6858000"/>
              <a:gd name="connsiteX1" fmla="*/ 6270171 w 6270171"/>
              <a:gd name="connsiteY1" fmla="*/ 0 h 6858000"/>
              <a:gd name="connsiteX2" fmla="*/ 6255657 w 6270171"/>
              <a:gd name="connsiteY2" fmla="*/ 3352800 h 6858000"/>
              <a:gd name="connsiteX3" fmla="*/ 6270171 w 6270171"/>
              <a:gd name="connsiteY3" fmla="*/ 6858000 h 6858000"/>
              <a:gd name="connsiteX4" fmla="*/ 0 w 6270171"/>
              <a:gd name="connsiteY4" fmla="*/ 6858000 h 6858000"/>
              <a:gd name="connsiteX5" fmla="*/ 0 w 6270171"/>
              <a:gd name="connsiteY5" fmla="*/ 0 h 6858000"/>
              <a:gd name="connsiteX0" fmla="*/ 0 w 6729819"/>
              <a:gd name="connsiteY0" fmla="*/ 0 h 6858000"/>
              <a:gd name="connsiteX1" fmla="*/ 6270171 w 6729819"/>
              <a:gd name="connsiteY1" fmla="*/ 0 h 6858000"/>
              <a:gd name="connsiteX2" fmla="*/ 6255657 w 6729819"/>
              <a:gd name="connsiteY2" fmla="*/ 3352800 h 6858000"/>
              <a:gd name="connsiteX3" fmla="*/ 6270171 w 6729819"/>
              <a:gd name="connsiteY3" fmla="*/ 6858000 h 6858000"/>
              <a:gd name="connsiteX4" fmla="*/ 0 w 6729819"/>
              <a:gd name="connsiteY4" fmla="*/ 6858000 h 6858000"/>
              <a:gd name="connsiteX5" fmla="*/ 0 w 6729819"/>
              <a:gd name="connsiteY5" fmla="*/ 0 h 6858000"/>
              <a:gd name="connsiteX0" fmla="*/ 0 w 6526122"/>
              <a:gd name="connsiteY0" fmla="*/ 0 h 6858000"/>
              <a:gd name="connsiteX1" fmla="*/ 6270171 w 6526122"/>
              <a:gd name="connsiteY1" fmla="*/ 0 h 6858000"/>
              <a:gd name="connsiteX2" fmla="*/ 4833257 w 6526122"/>
              <a:gd name="connsiteY2" fmla="*/ 3468914 h 6858000"/>
              <a:gd name="connsiteX3" fmla="*/ 6270171 w 6526122"/>
              <a:gd name="connsiteY3" fmla="*/ 6858000 h 6858000"/>
              <a:gd name="connsiteX4" fmla="*/ 0 w 6526122"/>
              <a:gd name="connsiteY4" fmla="*/ 6858000 h 6858000"/>
              <a:gd name="connsiteX5" fmla="*/ 0 w 6526122"/>
              <a:gd name="connsiteY5" fmla="*/ 0 h 6858000"/>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 name="connsiteX5" fmla="*/ 0 w 6539571"/>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3" name="Picture 32" descr="A person standing next to a computer&#10;&#10;Description automatically generated">
            <a:extLst>
              <a:ext uri="{FF2B5EF4-FFF2-40B4-BE49-F238E27FC236}">
                <a16:creationId xmlns:a16="http://schemas.microsoft.com/office/drawing/2014/main" id="{6B0A5532-14D8-42B9-B21F-D0C438D5F188}"/>
              </a:ext>
            </a:extLst>
          </p:cNvPr>
          <p:cNvPicPr>
            <a:picLocks noChangeAspect="1"/>
          </p:cNvPicPr>
          <p:nvPr/>
        </p:nvPicPr>
        <p:blipFill rotWithShape="1">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l="34747" r="1613"/>
          <a:stretch/>
        </p:blipFill>
        <p:spPr>
          <a:xfrm>
            <a:off x="0" y="0"/>
            <a:ext cx="6539571" cy="6858000"/>
          </a:xfrm>
          <a:custGeom>
            <a:avLst/>
            <a:gdLst>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close/>
              </a:path>
            </a:pathLst>
          </a:custGeom>
        </p:spPr>
      </p:pic>
      <p:graphicFrame>
        <p:nvGraphicFramePr>
          <p:cNvPr id="4" name="Object 3" hidden="1">
            <a:extLst>
              <a:ext uri="{FF2B5EF4-FFF2-40B4-BE49-F238E27FC236}">
                <a16:creationId xmlns:a16="http://schemas.microsoft.com/office/drawing/2014/main" id="{8C8FA7AC-B37F-4E1E-AFD9-DAA70D9E71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4" name="Object 3" hidden="1">
                        <a:extLst>
                          <a:ext uri="{FF2B5EF4-FFF2-40B4-BE49-F238E27FC236}">
                            <a16:creationId xmlns:a16="http://schemas.microsoft.com/office/drawing/2014/main" id="{8C8FA7AC-B37F-4E1E-AFD9-DAA70D9E71C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4" name="Rectangle 6">
            <a:extLst>
              <a:ext uri="{FF2B5EF4-FFF2-40B4-BE49-F238E27FC236}">
                <a16:creationId xmlns:a16="http://schemas.microsoft.com/office/drawing/2014/main" id="{B018D872-74EC-4C12-835A-5F484647A850}"/>
              </a:ext>
            </a:extLst>
          </p:cNvPr>
          <p:cNvSpPr/>
          <p:nvPr/>
        </p:nvSpPr>
        <p:spPr>
          <a:xfrm>
            <a:off x="0"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 fmla="*/ 0 w 6270171"/>
              <a:gd name="connsiteY0" fmla="*/ 0 h 6858000"/>
              <a:gd name="connsiteX1" fmla="*/ 6270171 w 6270171"/>
              <a:gd name="connsiteY1" fmla="*/ 0 h 6858000"/>
              <a:gd name="connsiteX2" fmla="*/ 6255657 w 6270171"/>
              <a:gd name="connsiteY2" fmla="*/ 3352800 h 6858000"/>
              <a:gd name="connsiteX3" fmla="*/ 6270171 w 6270171"/>
              <a:gd name="connsiteY3" fmla="*/ 6858000 h 6858000"/>
              <a:gd name="connsiteX4" fmla="*/ 0 w 6270171"/>
              <a:gd name="connsiteY4" fmla="*/ 6858000 h 6858000"/>
              <a:gd name="connsiteX5" fmla="*/ 0 w 6270171"/>
              <a:gd name="connsiteY5" fmla="*/ 0 h 6858000"/>
              <a:gd name="connsiteX0" fmla="*/ 0 w 6729819"/>
              <a:gd name="connsiteY0" fmla="*/ 0 h 6858000"/>
              <a:gd name="connsiteX1" fmla="*/ 6270171 w 6729819"/>
              <a:gd name="connsiteY1" fmla="*/ 0 h 6858000"/>
              <a:gd name="connsiteX2" fmla="*/ 6255657 w 6729819"/>
              <a:gd name="connsiteY2" fmla="*/ 3352800 h 6858000"/>
              <a:gd name="connsiteX3" fmla="*/ 6270171 w 6729819"/>
              <a:gd name="connsiteY3" fmla="*/ 6858000 h 6858000"/>
              <a:gd name="connsiteX4" fmla="*/ 0 w 6729819"/>
              <a:gd name="connsiteY4" fmla="*/ 6858000 h 6858000"/>
              <a:gd name="connsiteX5" fmla="*/ 0 w 6729819"/>
              <a:gd name="connsiteY5" fmla="*/ 0 h 6858000"/>
              <a:gd name="connsiteX0" fmla="*/ 0 w 6526122"/>
              <a:gd name="connsiteY0" fmla="*/ 0 h 6858000"/>
              <a:gd name="connsiteX1" fmla="*/ 6270171 w 6526122"/>
              <a:gd name="connsiteY1" fmla="*/ 0 h 6858000"/>
              <a:gd name="connsiteX2" fmla="*/ 4833257 w 6526122"/>
              <a:gd name="connsiteY2" fmla="*/ 3468914 h 6858000"/>
              <a:gd name="connsiteX3" fmla="*/ 6270171 w 6526122"/>
              <a:gd name="connsiteY3" fmla="*/ 6858000 h 6858000"/>
              <a:gd name="connsiteX4" fmla="*/ 0 w 6526122"/>
              <a:gd name="connsiteY4" fmla="*/ 6858000 h 6858000"/>
              <a:gd name="connsiteX5" fmla="*/ 0 w 6526122"/>
              <a:gd name="connsiteY5" fmla="*/ 0 h 6858000"/>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 name="connsiteX5" fmla="*/ 0 w 6539571"/>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 name="Group 5">
            <a:extLst>
              <a:ext uri="{FF2B5EF4-FFF2-40B4-BE49-F238E27FC236}">
                <a16:creationId xmlns:a16="http://schemas.microsoft.com/office/drawing/2014/main" id="{EC567B02-E541-4F8C-BE3F-4A45F04B721B}"/>
              </a:ext>
            </a:extLst>
          </p:cNvPr>
          <p:cNvGrpSpPr/>
          <p:nvPr/>
        </p:nvGrpSpPr>
        <p:grpSpPr>
          <a:xfrm>
            <a:off x="606306" y="581556"/>
            <a:ext cx="1404809" cy="401860"/>
            <a:chOff x="6673278" y="1829785"/>
            <a:chExt cx="1404809" cy="401860"/>
          </a:xfrm>
          <a:solidFill>
            <a:schemeClr val="bg1"/>
          </a:solidFill>
        </p:grpSpPr>
        <p:sp>
          <p:nvSpPr>
            <p:cNvPr id="13" name="Freeform 254">
              <a:extLst>
                <a:ext uri="{FF2B5EF4-FFF2-40B4-BE49-F238E27FC236}">
                  <a16:creationId xmlns:a16="http://schemas.microsoft.com/office/drawing/2014/main" id="{ABB0E5B3-3CBA-4FFA-966B-63813E6E71B6}"/>
                </a:ext>
              </a:extLst>
            </p:cNvPr>
            <p:cNvSpPr>
              <a:spLocks/>
            </p:cNvSpPr>
            <p:nvPr/>
          </p:nvSpPr>
          <p:spPr bwMode="auto">
            <a:xfrm>
              <a:off x="6673278" y="1833191"/>
              <a:ext cx="195821" cy="309909"/>
            </a:xfrm>
            <a:custGeom>
              <a:avLst/>
              <a:gdLst>
                <a:gd name="T0" fmla="*/ 43 w 61"/>
                <a:gd name="T1" fmla="*/ 47 h 95"/>
                <a:gd name="T2" fmla="*/ 30 w 61"/>
                <a:gd name="T3" fmla="*/ 55 h 95"/>
                <a:gd name="T4" fmla="*/ 11 w 61"/>
                <a:gd name="T5" fmla="*/ 83 h 95"/>
                <a:gd name="T6" fmla="*/ 11 w 61"/>
                <a:gd name="T7" fmla="*/ 85 h 95"/>
                <a:gd name="T8" fmla="*/ 57 w 61"/>
                <a:gd name="T9" fmla="*/ 85 h 95"/>
                <a:gd name="T10" fmla="*/ 60 w 61"/>
                <a:gd name="T11" fmla="*/ 88 h 95"/>
                <a:gd name="T12" fmla="*/ 60 w 61"/>
                <a:gd name="T13" fmla="*/ 93 h 95"/>
                <a:gd name="T14" fmla="*/ 57 w 61"/>
                <a:gd name="T15" fmla="*/ 95 h 95"/>
                <a:gd name="T16" fmla="*/ 3 w 61"/>
                <a:gd name="T17" fmla="*/ 95 h 95"/>
                <a:gd name="T18" fmla="*/ 0 w 61"/>
                <a:gd name="T19" fmla="*/ 93 h 95"/>
                <a:gd name="T20" fmla="*/ 0 w 61"/>
                <a:gd name="T21" fmla="*/ 83 h 95"/>
                <a:gd name="T22" fmla="*/ 21 w 61"/>
                <a:gd name="T23" fmla="*/ 49 h 95"/>
                <a:gd name="T24" fmla="*/ 35 w 61"/>
                <a:gd name="T25" fmla="*/ 40 h 95"/>
                <a:gd name="T26" fmla="*/ 49 w 61"/>
                <a:gd name="T27" fmla="*/ 22 h 95"/>
                <a:gd name="T28" fmla="*/ 28 w 61"/>
                <a:gd name="T29" fmla="*/ 9 h 95"/>
                <a:gd name="T30" fmla="*/ 4 w 61"/>
                <a:gd name="T31" fmla="*/ 11 h 95"/>
                <a:gd name="T32" fmla="*/ 3 w 61"/>
                <a:gd name="T33" fmla="*/ 11 h 95"/>
                <a:gd name="T34" fmla="*/ 1 w 61"/>
                <a:gd name="T35" fmla="*/ 9 h 95"/>
                <a:gd name="T36" fmla="*/ 1 w 61"/>
                <a:gd name="T37" fmla="*/ 4 h 95"/>
                <a:gd name="T38" fmla="*/ 4 w 61"/>
                <a:gd name="T39" fmla="*/ 2 h 95"/>
                <a:gd name="T40" fmla="*/ 28 w 61"/>
                <a:gd name="T41" fmla="*/ 0 h 95"/>
                <a:gd name="T42" fmla="*/ 61 w 61"/>
                <a:gd name="T43" fmla="*/ 22 h 95"/>
                <a:gd name="T44" fmla="*/ 43 w 61"/>
                <a:gd name="T45" fmla="*/ 47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1" h="95">
                  <a:moveTo>
                    <a:pt x="43" y="47"/>
                  </a:moveTo>
                  <a:cubicBezTo>
                    <a:pt x="30" y="55"/>
                    <a:pt x="30" y="55"/>
                    <a:pt x="30" y="55"/>
                  </a:cubicBezTo>
                  <a:cubicBezTo>
                    <a:pt x="15" y="65"/>
                    <a:pt x="11" y="72"/>
                    <a:pt x="11" y="83"/>
                  </a:cubicBezTo>
                  <a:cubicBezTo>
                    <a:pt x="11" y="85"/>
                    <a:pt x="11" y="85"/>
                    <a:pt x="11" y="85"/>
                  </a:cubicBezTo>
                  <a:cubicBezTo>
                    <a:pt x="57" y="85"/>
                    <a:pt x="57" y="85"/>
                    <a:pt x="57" y="85"/>
                  </a:cubicBezTo>
                  <a:cubicBezTo>
                    <a:pt x="59" y="85"/>
                    <a:pt x="60" y="86"/>
                    <a:pt x="60" y="88"/>
                  </a:cubicBezTo>
                  <a:cubicBezTo>
                    <a:pt x="60" y="93"/>
                    <a:pt x="60" y="93"/>
                    <a:pt x="60" y="93"/>
                  </a:cubicBezTo>
                  <a:cubicBezTo>
                    <a:pt x="60" y="95"/>
                    <a:pt x="59" y="95"/>
                    <a:pt x="57" y="95"/>
                  </a:cubicBezTo>
                  <a:cubicBezTo>
                    <a:pt x="3" y="95"/>
                    <a:pt x="3" y="95"/>
                    <a:pt x="3" y="95"/>
                  </a:cubicBezTo>
                  <a:cubicBezTo>
                    <a:pt x="1" y="95"/>
                    <a:pt x="0" y="94"/>
                    <a:pt x="0" y="93"/>
                  </a:cubicBezTo>
                  <a:cubicBezTo>
                    <a:pt x="0" y="83"/>
                    <a:pt x="0" y="83"/>
                    <a:pt x="0" y="83"/>
                  </a:cubicBezTo>
                  <a:cubicBezTo>
                    <a:pt x="0" y="69"/>
                    <a:pt x="6" y="58"/>
                    <a:pt x="21" y="49"/>
                  </a:cubicBezTo>
                  <a:cubicBezTo>
                    <a:pt x="35" y="40"/>
                    <a:pt x="35" y="40"/>
                    <a:pt x="35" y="40"/>
                  </a:cubicBezTo>
                  <a:cubicBezTo>
                    <a:pt x="46" y="33"/>
                    <a:pt x="49" y="30"/>
                    <a:pt x="49" y="22"/>
                  </a:cubicBezTo>
                  <a:cubicBezTo>
                    <a:pt x="49" y="13"/>
                    <a:pt x="43" y="9"/>
                    <a:pt x="28" y="9"/>
                  </a:cubicBezTo>
                  <a:cubicBezTo>
                    <a:pt x="21" y="9"/>
                    <a:pt x="12" y="10"/>
                    <a:pt x="4" y="11"/>
                  </a:cubicBezTo>
                  <a:cubicBezTo>
                    <a:pt x="4" y="11"/>
                    <a:pt x="4" y="11"/>
                    <a:pt x="3" y="11"/>
                  </a:cubicBezTo>
                  <a:cubicBezTo>
                    <a:pt x="2" y="11"/>
                    <a:pt x="1" y="10"/>
                    <a:pt x="1" y="9"/>
                  </a:cubicBezTo>
                  <a:cubicBezTo>
                    <a:pt x="1" y="4"/>
                    <a:pt x="1" y="4"/>
                    <a:pt x="1" y="4"/>
                  </a:cubicBezTo>
                  <a:cubicBezTo>
                    <a:pt x="1" y="3"/>
                    <a:pt x="3" y="2"/>
                    <a:pt x="4" y="2"/>
                  </a:cubicBezTo>
                  <a:cubicBezTo>
                    <a:pt x="11" y="0"/>
                    <a:pt x="20" y="0"/>
                    <a:pt x="28" y="0"/>
                  </a:cubicBezTo>
                  <a:cubicBezTo>
                    <a:pt x="51" y="0"/>
                    <a:pt x="61" y="7"/>
                    <a:pt x="61" y="22"/>
                  </a:cubicBezTo>
                  <a:cubicBezTo>
                    <a:pt x="61" y="33"/>
                    <a:pt x="56" y="39"/>
                    <a:pt x="43"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Freeform 255">
              <a:extLst>
                <a:ext uri="{FF2B5EF4-FFF2-40B4-BE49-F238E27FC236}">
                  <a16:creationId xmlns:a16="http://schemas.microsoft.com/office/drawing/2014/main" id="{DEC60BE9-CAE5-4D78-8B29-81F4F5142627}"/>
                </a:ext>
              </a:extLst>
            </p:cNvPr>
            <p:cNvSpPr>
              <a:spLocks noEditPoints="1"/>
            </p:cNvSpPr>
            <p:nvPr/>
          </p:nvSpPr>
          <p:spPr bwMode="auto">
            <a:xfrm>
              <a:off x="6785663" y="1904708"/>
              <a:ext cx="226472" cy="326937"/>
            </a:xfrm>
            <a:custGeom>
              <a:avLst/>
              <a:gdLst>
                <a:gd name="T0" fmla="*/ 68 w 70"/>
                <a:gd name="T1" fmla="*/ 74 h 100"/>
                <a:gd name="T2" fmla="*/ 56 w 70"/>
                <a:gd name="T3" fmla="*/ 74 h 100"/>
                <a:gd name="T4" fmla="*/ 56 w 70"/>
                <a:gd name="T5" fmla="*/ 98 h 100"/>
                <a:gd name="T6" fmla="*/ 54 w 70"/>
                <a:gd name="T7" fmla="*/ 100 h 100"/>
                <a:gd name="T8" fmla="*/ 46 w 70"/>
                <a:gd name="T9" fmla="*/ 100 h 100"/>
                <a:gd name="T10" fmla="*/ 44 w 70"/>
                <a:gd name="T11" fmla="*/ 98 h 100"/>
                <a:gd name="T12" fmla="*/ 44 w 70"/>
                <a:gd name="T13" fmla="*/ 74 h 100"/>
                <a:gd name="T14" fmla="*/ 5 w 70"/>
                <a:gd name="T15" fmla="*/ 74 h 100"/>
                <a:gd name="T16" fmla="*/ 0 w 70"/>
                <a:gd name="T17" fmla="*/ 68 h 100"/>
                <a:gd name="T18" fmla="*/ 0 w 70"/>
                <a:gd name="T19" fmla="*/ 63 h 100"/>
                <a:gd name="T20" fmla="*/ 1 w 70"/>
                <a:gd name="T21" fmla="*/ 58 h 100"/>
                <a:gd name="T22" fmla="*/ 41 w 70"/>
                <a:gd name="T23" fmla="*/ 2 h 100"/>
                <a:gd name="T24" fmla="*/ 45 w 70"/>
                <a:gd name="T25" fmla="*/ 0 h 100"/>
                <a:gd name="T26" fmla="*/ 52 w 70"/>
                <a:gd name="T27" fmla="*/ 0 h 100"/>
                <a:gd name="T28" fmla="*/ 56 w 70"/>
                <a:gd name="T29" fmla="*/ 3 h 100"/>
                <a:gd name="T30" fmla="*/ 56 w 70"/>
                <a:gd name="T31" fmla="*/ 63 h 100"/>
                <a:gd name="T32" fmla="*/ 68 w 70"/>
                <a:gd name="T33" fmla="*/ 63 h 100"/>
                <a:gd name="T34" fmla="*/ 70 w 70"/>
                <a:gd name="T35" fmla="*/ 66 h 100"/>
                <a:gd name="T36" fmla="*/ 70 w 70"/>
                <a:gd name="T37" fmla="*/ 71 h 100"/>
                <a:gd name="T38" fmla="*/ 68 w 70"/>
                <a:gd name="T39" fmla="*/ 74 h 100"/>
                <a:gd name="T40" fmla="*/ 44 w 70"/>
                <a:gd name="T41" fmla="*/ 17 h 100"/>
                <a:gd name="T42" fmla="*/ 43 w 70"/>
                <a:gd name="T43" fmla="*/ 17 h 100"/>
                <a:gd name="T44" fmla="*/ 43 w 70"/>
                <a:gd name="T45" fmla="*/ 17 h 100"/>
                <a:gd name="T46" fmla="*/ 42 w 70"/>
                <a:gd name="T47" fmla="*/ 17 h 100"/>
                <a:gd name="T48" fmla="*/ 11 w 70"/>
                <a:gd name="T49" fmla="*/ 61 h 100"/>
                <a:gd name="T50" fmla="*/ 11 w 70"/>
                <a:gd name="T51" fmla="*/ 63 h 100"/>
                <a:gd name="T52" fmla="*/ 12 w 70"/>
                <a:gd name="T53" fmla="*/ 63 h 100"/>
                <a:gd name="T54" fmla="*/ 44 w 70"/>
                <a:gd name="T55" fmla="*/ 63 h 100"/>
                <a:gd name="T56" fmla="*/ 44 w 70"/>
                <a:gd name="T57" fmla="*/ 17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 h="100">
                  <a:moveTo>
                    <a:pt x="68" y="74"/>
                  </a:moveTo>
                  <a:cubicBezTo>
                    <a:pt x="56" y="74"/>
                    <a:pt x="56" y="74"/>
                    <a:pt x="56" y="74"/>
                  </a:cubicBezTo>
                  <a:cubicBezTo>
                    <a:pt x="56" y="98"/>
                    <a:pt x="56" y="98"/>
                    <a:pt x="56" y="98"/>
                  </a:cubicBezTo>
                  <a:cubicBezTo>
                    <a:pt x="56" y="99"/>
                    <a:pt x="55" y="100"/>
                    <a:pt x="54" y="100"/>
                  </a:cubicBezTo>
                  <a:cubicBezTo>
                    <a:pt x="46" y="100"/>
                    <a:pt x="46" y="100"/>
                    <a:pt x="46" y="100"/>
                  </a:cubicBezTo>
                  <a:cubicBezTo>
                    <a:pt x="44" y="100"/>
                    <a:pt x="44" y="99"/>
                    <a:pt x="44" y="98"/>
                  </a:cubicBezTo>
                  <a:cubicBezTo>
                    <a:pt x="44" y="74"/>
                    <a:pt x="44" y="74"/>
                    <a:pt x="44" y="74"/>
                  </a:cubicBezTo>
                  <a:cubicBezTo>
                    <a:pt x="5" y="74"/>
                    <a:pt x="5" y="74"/>
                    <a:pt x="5" y="74"/>
                  </a:cubicBezTo>
                  <a:cubicBezTo>
                    <a:pt x="1" y="74"/>
                    <a:pt x="0" y="72"/>
                    <a:pt x="0" y="68"/>
                  </a:cubicBezTo>
                  <a:cubicBezTo>
                    <a:pt x="0" y="63"/>
                    <a:pt x="0" y="63"/>
                    <a:pt x="0" y="63"/>
                  </a:cubicBezTo>
                  <a:cubicBezTo>
                    <a:pt x="0" y="61"/>
                    <a:pt x="0" y="60"/>
                    <a:pt x="1" y="58"/>
                  </a:cubicBezTo>
                  <a:cubicBezTo>
                    <a:pt x="41" y="2"/>
                    <a:pt x="41" y="2"/>
                    <a:pt x="41" y="2"/>
                  </a:cubicBezTo>
                  <a:cubicBezTo>
                    <a:pt x="41" y="1"/>
                    <a:pt x="42" y="0"/>
                    <a:pt x="45" y="0"/>
                  </a:cubicBezTo>
                  <a:cubicBezTo>
                    <a:pt x="52" y="0"/>
                    <a:pt x="52" y="0"/>
                    <a:pt x="52" y="0"/>
                  </a:cubicBezTo>
                  <a:cubicBezTo>
                    <a:pt x="55" y="0"/>
                    <a:pt x="56" y="1"/>
                    <a:pt x="56" y="3"/>
                  </a:cubicBezTo>
                  <a:cubicBezTo>
                    <a:pt x="56" y="63"/>
                    <a:pt x="56" y="63"/>
                    <a:pt x="56" y="63"/>
                  </a:cubicBezTo>
                  <a:cubicBezTo>
                    <a:pt x="68" y="63"/>
                    <a:pt x="68" y="63"/>
                    <a:pt x="68" y="63"/>
                  </a:cubicBezTo>
                  <a:cubicBezTo>
                    <a:pt x="69" y="63"/>
                    <a:pt x="70" y="64"/>
                    <a:pt x="70" y="66"/>
                  </a:cubicBezTo>
                  <a:cubicBezTo>
                    <a:pt x="70" y="71"/>
                    <a:pt x="70" y="71"/>
                    <a:pt x="70" y="71"/>
                  </a:cubicBezTo>
                  <a:cubicBezTo>
                    <a:pt x="70" y="73"/>
                    <a:pt x="69" y="74"/>
                    <a:pt x="68" y="74"/>
                  </a:cubicBezTo>
                  <a:close/>
                  <a:moveTo>
                    <a:pt x="44" y="17"/>
                  </a:moveTo>
                  <a:cubicBezTo>
                    <a:pt x="44" y="17"/>
                    <a:pt x="44" y="17"/>
                    <a:pt x="43" y="17"/>
                  </a:cubicBezTo>
                  <a:cubicBezTo>
                    <a:pt x="43" y="17"/>
                    <a:pt x="43" y="17"/>
                    <a:pt x="43" y="17"/>
                  </a:cubicBezTo>
                  <a:cubicBezTo>
                    <a:pt x="43" y="17"/>
                    <a:pt x="42" y="17"/>
                    <a:pt x="42" y="17"/>
                  </a:cubicBezTo>
                  <a:cubicBezTo>
                    <a:pt x="11" y="61"/>
                    <a:pt x="11" y="61"/>
                    <a:pt x="11" y="61"/>
                  </a:cubicBezTo>
                  <a:cubicBezTo>
                    <a:pt x="11" y="62"/>
                    <a:pt x="11" y="62"/>
                    <a:pt x="11" y="63"/>
                  </a:cubicBezTo>
                  <a:cubicBezTo>
                    <a:pt x="11" y="63"/>
                    <a:pt x="11" y="63"/>
                    <a:pt x="12" y="63"/>
                  </a:cubicBezTo>
                  <a:cubicBezTo>
                    <a:pt x="44" y="63"/>
                    <a:pt x="44" y="63"/>
                    <a:pt x="44" y="63"/>
                  </a:cubicBezTo>
                  <a:lnTo>
                    <a:pt x="44"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Freeform 256">
              <a:extLst>
                <a:ext uri="{FF2B5EF4-FFF2-40B4-BE49-F238E27FC236}">
                  <a16:creationId xmlns:a16="http://schemas.microsoft.com/office/drawing/2014/main" id="{2BECE424-3B4F-4116-962C-70ECFD21E35F}"/>
                </a:ext>
              </a:extLst>
            </p:cNvPr>
            <p:cNvSpPr>
              <a:spLocks/>
            </p:cNvSpPr>
            <p:nvPr/>
          </p:nvSpPr>
          <p:spPr bwMode="auto">
            <a:xfrm>
              <a:off x="7253932" y="1833191"/>
              <a:ext cx="37462" cy="313315"/>
            </a:xfrm>
            <a:custGeom>
              <a:avLst/>
              <a:gdLst>
                <a:gd name="T0" fmla="*/ 11 w 12"/>
                <a:gd name="T1" fmla="*/ 95 h 96"/>
                <a:gd name="T2" fmla="*/ 10 w 12"/>
                <a:gd name="T3" fmla="*/ 96 h 96"/>
                <a:gd name="T4" fmla="*/ 3 w 12"/>
                <a:gd name="T5" fmla="*/ 96 h 96"/>
                <a:gd name="T6" fmla="*/ 1 w 12"/>
                <a:gd name="T7" fmla="*/ 95 h 96"/>
                <a:gd name="T8" fmla="*/ 0 w 12"/>
                <a:gd name="T9" fmla="*/ 93 h 96"/>
                <a:gd name="T10" fmla="*/ 0 w 12"/>
                <a:gd name="T11" fmla="*/ 2 h 96"/>
                <a:gd name="T12" fmla="*/ 1 w 12"/>
                <a:gd name="T13" fmla="*/ 1 h 96"/>
                <a:gd name="T14" fmla="*/ 3 w 12"/>
                <a:gd name="T15" fmla="*/ 0 h 96"/>
                <a:gd name="T16" fmla="*/ 10 w 12"/>
                <a:gd name="T17" fmla="*/ 0 h 96"/>
                <a:gd name="T18" fmla="*/ 11 w 12"/>
                <a:gd name="T19" fmla="*/ 1 h 96"/>
                <a:gd name="T20" fmla="*/ 12 w 12"/>
                <a:gd name="T21" fmla="*/ 2 h 96"/>
                <a:gd name="T22" fmla="*/ 12 w 12"/>
                <a:gd name="T23" fmla="*/ 93 h 96"/>
                <a:gd name="T24" fmla="*/ 11 w 12"/>
                <a:gd name="T25" fmla="*/ 9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96">
                  <a:moveTo>
                    <a:pt x="11" y="95"/>
                  </a:moveTo>
                  <a:cubicBezTo>
                    <a:pt x="11" y="95"/>
                    <a:pt x="10" y="96"/>
                    <a:pt x="10" y="96"/>
                  </a:cubicBezTo>
                  <a:cubicBezTo>
                    <a:pt x="3" y="96"/>
                    <a:pt x="3" y="96"/>
                    <a:pt x="3" y="96"/>
                  </a:cubicBezTo>
                  <a:cubicBezTo>
                    <a:pt x="2" y="96"/>
                    <a:pt x="1" y="95"/>
                    <a:pt x="1" y="95"/>
                  </a:cubicBezTo>
                  <a:cubicBezTo>
                    <a:pt x="0" y="94"/>
                    <a:pt x="0" y="94"/>
                    <a:pt x="0" y="93"/>
                  </a:cubicBezTo>
                  <a:cubicBezTo>
                    <a:pt x="0" y="2"/>
                    <a:pt x="0" y="2"/>
                    <a:pt x="0" y="2"/>
                  </a:cubicBezTo>
                  <a:cubicBezTo>
                    <a:pt x="0" y="2"/>
                    <a:pt x="0" y="1"/>
                    <a:pt x="1" y="1"/>
                  </a:cubicBezTo>
                  <a:cubicBezTo>
                    <a:pt x="1" y="0"/>
                    <a:pt x="2" y="0"/>
                    <a:pt x="3" y="0"/>
                  </a:cubicBezTo>
                  <a:cubicBezTo>
                    <a:pt x="10" y="0"/>
                    <a:pt x="10" y="0"/>
                    <a:pt x="10" y="0"/>
                  </a:cubicBezTo>
                  <a:cubicBezTo>
                    <a:pt x="10" y="0"/>
                    <a:pt x="11" y="0"/>
                    <a:pt x="11" y="1"/>
                  </a:cubicBezTo>
                  <a:cubicBezTo>
                    <a:pt x="12" y="1"/>
                    <a:pt x="12" y="2"/>
                    <a:pt x="12" y="2"/>
                  </a:cubicBezTo>
                  <a:cubicBezTo>
                    <a:pt x="12" y="93"/>
                    <a:pt x="12" y="93"/>
                    <a:pt x="12" y="93"/>
                  </a:cubicBezTo>
                  <a:cubicBezTo>
                    <a:pt x="12" y="94"/>
                    <a:pt x="12" y="94"/>
                    <a:pt x="11"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Freeform 257">
              <a:extLst>
                <a:ext uri="{FF2B5EF4-FFF2-40B4-BE49-F238E27FC236}">
                  <a16:creationId xmlns:a16="http://schemas.microsoft.com/office/drawing/2014/main" id="{68801E17-5DC2-4128-AED8-FE46F73EF359}"/>
                </a:ext>
              </a:extLst>
            </p:cNvPr>
            <p:cNvSpPr>
              <a:spLocks noEditPoints="1"/>
            </p:cNvSpPr>
            <p:nvPr/>
          </p:nvSpPr>
          <p:spPr bwMode="auto">
            <a:xfrm>
              <a:off x="7359506" y="1829785"/>
              <a:ext cx="39164" cy="316720"/>
            </a:xfrm>
            <a:custGeom>
              <a:avLst/>
              <a:gdLst>
                <a:gd name="T0" fmla="*/ 11 w 12"/>
                <a:gd name="T1" fmla="*/ 15 h 97"/>
                <a:gd name="T2" fmla="*/ 9 w 12"/>
                <a:gd name="T3" fmla="*/ 15 h 97"/>
                <a:gd name="T4" fmla="*/ 3 w 12"/>
                <a:gd name="T5" fmla="*/ 15 h 97"/>
                <a:gd name="T6" fmla="*/ 1 w 12"/>
                <a:gd name="T7" fmla="*/ 15 h 97"/>
                <a:gd name="T8" fmla="*/ 0 w 12"/>
                <a:gd name="T9" fmla="*/ 13 h 97"/>
                <a:gd name="T10" fmla="*/ 0 w 12"/>
                <a:gd name="T11" fmla="*/ 3 h 97"/>
                <a:gd name="T12" fmla="*/ 1 w 12"/>
                <a:gd name="T13" fmla="*/ 1 h 97"/>
                <a:gd name="T14" fmla="*/ 3 w 12"/>
                <a:gd name="T15" fmla="*/ 0 h 97"/>
                <a:gd name="T16" fmla="*/ 9 w 12"/>
                <a:gd name="T17" fmla="*/ 0 h 97"/>
                <a:gd name="T18" fmla="*/ 11 w 12"/>
                <a:gd name="T19" fmla="*/ 1 h 97"/>
                <a:gd name="T20" fmla="*/ 12 w 12"/>
                <a:gd name="T21" fmla="*/ 3 h 97"/>
                <a:gd name="T22" fmla="*/ 12 w 12"/>
                <a:gd name="T23" fmla="*/ 13 h 97"/>
                <a:gd name="T24" fmla="*/ 11 w 12"/>
                <a:gd name="T25" fmla="*/ 15 h 97"/>
                <a:gd name="T26" fmla="*/ 11 w 12"/>
                <a:gd name="T27" fmla="*/ 96 h 97"/>
                <a:gd name="T28" fmla="*/ 9 w 12"/>
                <a:gd name="T29" fmla="*/ 97 h 97"/>
                <a:gd name="T30" fmla="*/ 3 w 12"/>
                <a:gd name="T31" fmla="*/ 97 h 97"/>
                <a:gd name="T32" fmla="*/ 1 w 12"/>
                <a:gd name="T33" fmla="*/ 96 h 97"/>
                <a:gd name="T34" fmla="*/ 0 w 12"/>
                <a:gd name="T35" fmla="*/ 94 h 97"/>
                <a:gd name="T36" fmla="*/ 0 w 12"/>
                <a:gd name="T37" fmla="*/ 29 h 97"/>
                <a:gd name="T38" fmla="*/ 1 w 12"/>
                <a:gd name="T39" fmla="*/ 27 h 97"/>
                <a:gd name="T40" fmla="*/ 3 w 12"/>
                <a:gd name="T41" fmla="*/ 27 h 97"/>
                <a:gd name="T42" fmla="*/ 9 w 12"/>
                <a:gd name="T43" fmla="*/ 27 h 97"/>
                <a:gd name="T44" fmla="*/ 11 w 12"/>
                <a:gd name="T45" fmla="*/ 27 h 97"/>
                <a:gd name="T46" fmla="*/ 12 w 12"/>
                <a:gd name="T47" fmla="*/ 29 h 97"/>
                <a:gd name="T48" fmla="*/ 12 w 12"/>
                <a:gd name="T49" fmla="*/ 94 h 97"/>
                <a:gd name="T50" fmla="*/ 11 w 12"/>
                <a:gd name="T51" fmla="*/ 96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97">
                  <a:moveTo>
                    <a:pt x="11" y="15"/>
                  </a:moveTo>
                  <a:cubicBezTo>
                    <a:pt x="11" y="15"/>
                    <a:pt x="10" y="15"/>
                    <a:pt x="9" y="15"/>
                  </a:cubicBezTo>
                  <a:cubicBezTo>
                    <a:pt x="3" y="15"/>
                    <a:pt x="3" y="15"/>
                    <a:pt x="3" y="15"/>
                  </a:cubicBezTo>
                  <a:cubicBezTo>
                    <a:pt x="2" y="15"/>
                    <a:pt x="1" y="15"/>
                    <a:pt x="1" y="15"/>
                  </a:cubicBezTo>
                  <a:cubicBezTo>
                    <a:pt x="0" y="14"/>
                    <a:pt x="0" y="14"/>
                    <a:pt x="0" y="13"/>
                  </a:cubicBezTo>
                  <a:cubicBezTo>
                    <a:pt x="0" y="3"/>
                    <a:pt x="0" y="3"/>
                    <a:pt x="0" y="3"/>
                  </a:cubicBezTo>
                  <a:cubicBezTo>
                    <a:pt x="0" y="2"/>
                    <a:pt x="0" y="1"/>
                    <a:pt x="1" y="1"/>
                  </a:cubicBezTo>
                  <a:cubicBezTo>
                    <a:pt x="1" y="0"/>
                    <a:pt x="2" y="0"/>
                    <a:pt x="3" y="0"/>
                  </a:cubicBezTo>
                  <a:cubicBezTo>
                    <a:pt x="9" y="0"/>
                    <a:pt x="9" y="0"/>
                    <a:pt x="9" y="0"/>
                  </a:cubicBezTo>
                  <a:cubicBezTo>
                    <a:pt x="10" y="0"/>
                    <a:pt x="11" y="0"/>
                    <a:pt x="11" y="1"/>
                  </a:cubicBezTo>
                  <a:cubicBezTo>
                    <a:pt x="12" y="1"/>
                    <a:pt x="12" y="2"/>
                    <a:pt x="12" y="3"/>
                  </a:cubicBezTo>
                  <a:cubicBezTo>
                    <a:pt x="12" y="13"/>
                    <a:pt x="12" y="13"/>
                    <a:pt x="12" y="13"/>
                  </a:cubicBezTo>
                  <a:cubicBezTo>
                    <a:pt x="12" y="14"/>
                    <a:pt x="12" y="14"/>
                    <a:pt x="11" y="15"/>
                  </a:cubicBezTo>
                  <a:close/>
                  <a:moveTo>
                    <a:pt x="11" y="96"/>
                  </a:moveTo>
                  <a:cubicBezTo>
                    <a:pt x="10" y="96"/>
                    <a:pt x="10" y="97"/>
                    <a:pt x="9" y="97"/>
                  </a:cubicBezTo>
                  <a:cubicBezTo>
                    <a:pt x="3" y="97"/>
                    <a:pt x="3" y="97"/>
                    <a:pt x="3" y="97"/>
                  </a:cubicBezTo>
                  <a:cubicBezTo>
                    <a:pt x="2" y="97"/>
                    <a:pt x="1" y="96"/>
                    <a:pt x="1" y="96"/>
                  </a:cubicBezTo>
                  <a:cubicBezTo>
                    <a:pt x="0" y="95"/>
                    <a:pt x="0" y="95"/>
                    <a:pt x="0" y="94"/>
                  </a:cubicBezTo>
                  <a:cubicBezTo>
                    <a:pt x="0" y="29"/>
                    <a:pt x="0" y="29"/>
                    <a:pt x="0" y="29"/>
                  </a:cubicBezTo>
                  <a:cubicBezTo>
                    <a:pt x="0" y="28"/>
                    <a:pt x="0" y="28"/>
                    <a:pt x="1" y="27"/>
                  </a:cubicBezTo>
                  <a:cubicBezTo>
                    <a:pt x="1" y="27"/>
                    <a:pt x="2" y="27"/>
                    <a:pt x="3" y="27"/>
                  </a:cubicBezTo>
                  <a:cubicBezTo>
                    <a:pt x="9" y="27"/>
                    <a:pt x="9" y="27"/>
                    <a:pt x="9" y="27"/>
                  </a:cubicBezTo>
                  <a:cubicBezTo>
                    <a:pt x="10" y="27"/>
                    <a:pt x="10" y="27"/>
                    <a:pt x="11" y="27"/>
                  </a:cubicBezTo>
                  <a:cubicBezTo>
                    <a:pt x="11" y="28"/>
                    <a:pt x="12" y="28"/>
                    <a:pt x="12" y="29"/>
                  </a:cubicBezTo>
                  <a:cubicBezTo>
                    <a:pt x="12" y="94"/>
                    <a:pt x="12" y="94"/>
                    <a:pt x="12" y="94"/>
                  </a:cubicBezTo>
                  <a:cubicBezTo>
                    <a:pt x="12" y="95"/>
                    <a:pt x="11" y="95"/>
                    <a:pt x="11"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Freeform 258">
              <a:extLst>
                <a:ext uri="{FF2B5EF4-FFF2-40B4-BE49-F238E27FC236}">
                  <a16:creationId xmlns:a16="http://schemas.microsoft.com/office/drawing/2014/main" id="{CDB95D79-264F-4F5A-BD52-6994610FF466}"/>
                </a:ext>
              </a:extLst>
            </p:cNvPr>
            <p:cNvSpPr>
              <a:spLocks noEditPoints="1"/>
            </p:cNvSpPr>
            <p:nvPr/>
          </p:nvSpPr>
          <p:spPr bwMode="auto">
            <a:xfrm>
              <a:off x="7453160" y="1833191"/>
              <a:ext cx="183902" cy="316720"/>
            </a:xfrm>
            <a:custGeom>
              <a:avLst/>
              <a:gdLst>
                <a:gd name="T0" fmla="*/ 56 w 57"/>
                <a:gd name="T1" fmla="*/ 93 h 97"/>
                <a:gd name="T2" fmla="*/ 54 w 57"/>
                <a:gd name="T3" fmla="*/ 94 h 97"/>
                <a:gd name="T4" fmla="*/ 41 w 57"/>
                <a:gd name="T5" fmla="*/ 96 h 97"/>
                <a:gd name="T6" fmla="*/ 29 w 57"/>
                <a:gd name="T7" fmla="*/ 97 h 97"/>
                <a:gd name="T8" fmla="*/ 16 w 57"/>
                <a:gd name="T9" fmla="*/ 94 h 97"/>
                <a:gd name="T10" fmla="*/ 7 w 57"/>
                <a:gd name="T11" fmla="*/ 88 h 97"/>
                <a:gd name="T12" fmla="*/ 2 w 57"/>
                <a:gd name="T13" fmla="*/ 78 h 97"/>
                <a:gd name="T14" fmla="*/ 0 w 57"/>
                <a:gd name="T15" fmla="*/ 65 h 97"/>
                <a:gd name="T16" fmla="*/ 0 w 57"/>
                <a:gd name="T17" fmla="*/ 56 h 97"/>
                <a:gd name="T18" fmla="*/ 7 w 57"/>
                <a:gd name="T19" fmla="*/ 33 h 97"/>
                <a:gd name="T20" fmla="*/ 29 w 57"/>
                <a:gd name="T21" fmla="*/ 25 h 97"/>
                <a:gd name="T22" fmla="*/ 37 w 57"/>
                <a:gd name="T23" fmla="*/ 25 h 97"/>
                <a:gd name="T24" fmla="*/ 45 w 57"/>
                <a:gd name="T25" fmla="*/ 26 h 97"/>
                <a:gd name="T26" fmla="*/ 45 w 57"/>
                <a:gd name="T27" fmla="*/ 2 h 97"/>
                <a:gd name="T28" fmla="*/ 46 w 57"/>
                <a:gd name="T29" fmla="*/ 1 h 97"/>
                <a:gd name="T30" fmla="*/ 47 w 57"/>
                <a:gd name="T31" fmla="*/ 0 h 97"/>
                <a:gd name="T32" fmla="*/ 54 w 57"/>
                <a:gd name="T33" fmla="*/ 0 h 97"/>
                <a:gd name="T34" fmla="*/ 56 w 57"/>
                <a:gd name="T35" fmla="*/ 1 h 97"/>
                <a:gd name="T36" fmla="*/ 57 w 57"/>
                <a:gd name="T37" fmla="*/ 2 h 97"/>
                <a:gd name="T38" fmla="*/ 57 w 57"/>
                <a:gd name="T39" fmla="*/ 91 h 97"/>
                <a:gd name="T40" fmla="*/ 56 w 57"/>
                <a:gd name="T41" fmla="*/ 93 h 97"/>
                <a:gd name="T42" fmla="*/ 45 w 57"/>
                <a:gd name="T43" fmla="*/ 35 h 97"/>
                <a:gd name="T44" fmla="*/ 37 w 57"/>
                <a:gd name="T45" fmla="*/ 35 h 97"/>
                <a:gd name="T46" fmla="*/ 29 w 57"/>
                <a:gd name="T47" fmla="*/ 35 h 97"/>
                <a:gd name="T48" fmla="*/ 16 w 57"/>
                <a:gd name="T49" fmla="*/ 40 h 97"/>
                <a:gd name="T50" fmla="*/ 12 w 57"/>
                <a:gd name="T51" fmla="*/ 56 h 97"/>
                <a:gd name="T52" fmla="*/ 12 w 57"/>
                <a:gd name="T53" fmla="*/ 65 h 97"/>
                <a:gd name="T54" fmla="*/ 16 w 57"/>
                <a:gd name="T55" fmla="*/ 81 h 97"/>
                <a:gd name="T56" fmla="*/ 29 w 57"/>
                <a:gd name="T57" fmla="*/ 87 h 97"/>
                <a:gd name="T58" fmla="*/ 37 w 57"/>
                <a:gd name="T59" fmla="*/ 86 h 97"/>
                <a:gd name="T60" fmla="*/ 45 w 57"/>
                <a:gd name="T61" fmla="*/ 86 h 97"/>
                <a:gd name="T62" fmla="*/ 45 w 57"/>
                <a:gd name="T63" fmla="*/ 3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97">
                  <a:moveTo>
                    <a:pt x="56" y="93"/>
                  </a:moveTo>
                  <a:cubicBezTo>
                    <a:pt x="56" y="94"/>
                    <a:pt x="55" y="94"/>
                    <a:pt x="54" y="94"/>
                  </a:cubicBezTo>
                  <a:cubicBezTo>
                    <a:pt x="50" y="95"/>
                    <a:pt x="46" y="96"/>
                    <a:pt x="41" y="96"/>
                  </a:cubicBezTo>
                  <a:cubicBezTo>
                    <a:pt x="37" y="96"/>
                    <a:pt x="33" y="97"/>
                    <a:pt x="29" y="97"/>
                  </a:cubicBezTo>
                  <a:cubicBezTo>
                    <a:pt x="24" y="97"/>
                    <a:pt x="20" y="96"/>
                    <a:pt x="16" y="94"/>
                  </a:cubicBezTo>
                  <a:cubicBezTo>
                    <a:pt x="13" y="93"/>
                    <a:pt x="10" y="91"/>
                    <a:pt x="7" y="88"/>
                  </a:cubicBezTo>
                  <a:cubicBezTo>
                    <a:pt x="5" y="85"/>
                    <a:pt x="3" y="82"/>
                    <a:pt x="2" y="78"/>
                  </a:cubicBezTo>
                  <a:cubicBezTo>
                    <a:pt x="1" y="74"/>
                    <a:pt x="0" y="70"/>
                    <a:pt x="0" y="65"/>
                  </a:cubicBezTo>
                  <a:cubicBezTo>
                    <a:pt x="0" y="56"/>
                    <a:pt x="0" y="56"/>
                    <a:pt x="0" y="56"/>
                  </a:cubicBezTo>
                  <a:cubicBezTo>
                    <a:pt x="0" y="46"/>
                    <a:pt x="3" y="38"/>
                    <a:pt x="7" y="33"/>
                  </a:cubicBezTo>
                  <a:cubicBezTo>
                    <a:pt x="12" y="27"/>
                    <a:pt x="19" y="25"/>
                    <a:pt x="29" y="25"/>
                  </a:cubicBezTo>
                  <a:cubicBezTo>
                    <a:pt x="31" y="25"/>
                    <a:pt x="34" y="25"/>
                    <a:pt x="37" y="25"/>
                  </a:cubicBezTo>
                  <a:cubicBezTo>
                    <a:pt x="40" y="25"/>
                    <a:pt x="42" y="26"/>
                    <a:pt x="45" y="26"/>
                  </a:cubicBezTo>
                  <a:cubicBezTo>
                    <a:pt x="45" y="2"/>
                    <a:pt x="45" y="2"/>
                    <a:pt x="45" y="2"/>
                  </a:cubicBezTo>
                  <a:cubicBezTo>
                    <a:pt x="45" y="2"/>
                    <a:pt x="45" y="1"/>
                    <a:pt x="46" y="1"/>
                  </a:cubicBezTo>
                  <a:cubicBezTo>
                    <a:pt x="46" y="0"/>
                    <a:pt x="47" y="0"/>
                    <a:pt x="47" y="0"/>
                  </a:cubicBezTo>
                  <a:cubicBezTo>
                    <a:pt x="54" y="0"/>
                    <a:pt x="54" y="0"/>
                    <a:pt x="54" y="0"/>
                  </a:cubicBezTo>
                  <a:cubicBezTo>
                    <a:pt x="55" y="0"/>
                    <a:pt x="56" y="0"/>
                    <a:pt x="56" y="1"/>
                  </a:cubicBezTo>
                  <a:cubicBezTo>
                    <a:pt x="56" y="1"/>
                    <a:pt x="57" y="2"/>
                    <a:pt x="57" y="2"/>
                  </a:cubicBezTo>
                  <a:cubicBezTo>
                    <a:pt x="57" y="91"/>
                    <a:pt x="57" y="91"/>
                    <a:pt x="57" y="91"/>
                  </a:cubicBezTo>
                  <a:cubicBezTo>
                    <a:pt x="57" y="92"/>
                    <a:pt x="57" y="93"/>
                    <a:pt x="56" y="93"/>
                  </a:cubicBezTo>
                  <a:close/>
                  <a:moveTo>
                    <a:pt x="45" y="35"/>
                  </a:moveTo>
                  <a:cubicBezTo>
                    <a:pt x="43" y="35"/>
                    <a:pt x="40" y="35"/>
                    <a:pt x="37" y="35"/>
                  </a:cubicBezTo>
                  <a:cubicBezTo>
                    <a:pt x="34" y="35"/>
                    <a:pt x="31" y="35"/>
                    <a:pt x="29" y="35"/>
                  </a:cubicBezTo>
                  <a:cubicBezTo>
                    <a:pt x="23" y="35"/>
                    <a:pt x="18" y="36"/>
                    <a:pt x="16" y="40"/>
                  </a:cubicBezTo>
                  <a:cubicBezTo>
                    <a:pt x="13" y="44"/>
                    <a:pt x="12" y="49"/>
                    <a:pt x="12" y="56"/>
                  </a:cubicBezTo>
                  <a:cubicBezTo>
                    <a:pt x="12" y="65"/>
                    <a:pt x="12" y="65"/>
                    <a:pt x="12" y="65"/>
                  </a:cubicBezTo>
                  <a:cubicBezTo>
                    <a:pt x="12" y="72"/>
                    <a:pt x="13" y="77"/>
                    <a:pt x="16" y="81"/>
                  </a:cubicBezTo>
                  <a:cubicBezTo>
                    <a:pt x="18" y="85"/>
                    <a:pt x="23" y="87"/>
                    <a:pt x="29" y="87"/>
                  </a:cubicBezTo>
                  <a:cubicBezTo>
                    <a:pt x="32" y="87"/>
                    <a:pt x="34" y="87"/>
                    <a:pt x="37" y="86"/>
                  </a:cubicBezTo>
                  <a:cubicBezTo>
                    <a:pt x="40" y="86"/>
                    <a:pt x="43" y="86"/>
                    <a:pt x="45" y="86"/>
                  </a:cubicBezTo>
                  <a:lnTo>
                    <a:pt x="45"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Freeform 259">
              <a:extLst>
                <a:ext uri="{FF2B5EF4-FFF2-40B4-BE49-F238E27FC236}">
                  <a16:creationId xmlns:a16="http://schemas.microsoft.com/office/drawing/2014/main" id="{5B1790B1-9A57-41ED-871A-909D4C728656}"/>
                </a:ext>
              </a:extLst>
            </p:cNvPr>
            <p:cNvSpPr>
              <a:spLocks noEditPoints="1"/>
            </p:cNvSpPr>
            <p:nvPr/>
          </p:nvSpPr>
          <p:spPr bwMode="auto">
            <a:xfrm>
              <a:off x="7684741" y="1914925"/>
              <a:ext cx="194119" cy="234986"/>
            </a:xfrm>
            <a:custGeom>
              <a:avLst/>
              <a:gdLst>
                <a:gd name="T0" fmla="*/ 57 w 60"/>
                <a:gd name="T1" fmla="*/ 39 h 72"/>
                <a:gd name="T2" fmla="*/ 12 w 60"/>
                <a:gd name="T3" fmla="*/ 39 h 72"/>
                <a:gd name="T4" fmla="*/ 12 w 60"/>
                <a:gd name="T5" fmla="*/ 41 h 72"/>
                <a:gd name="T6" fmla="*/ 17 w 60"/>
                <a:gd name="T7" fmla="*/ 57 h 72"/>
                <a:gd name="T8" fmla="*/ 31 w 60"/>
                <a:gd name="T9" fmla="*/ 62 h 72"/>
                <a:gd name="T10" fmla="*/ 43 w 60"/>
                <a:gd name="T11" fmla="*/ 61 h 72"/>
                <a:gd name="T12" fmla="*/ 55 w 60"/>
                <a:gd name="T13" fmla="*/ 60 h 72"/>
                <a:gd name="T14" fmla="*/ 55 w 60"/>
                <a:gd name="T15" fmla="*/ 60 h 72"/>
                <a:gd name="T16" fmla="*/ 57 w 60"/>
                <a:gd name="T17" fmla="*/ 61 h 72"/>
                <a:gd name="T18" fmla="*/ 57 w 60"/>
                <a:gd name="T19" fmla="*/ 62 h 72"/>
                <a:gd name="T20" fmla="*/ 57 w 60"/>
                <a:gd name="T21" fmla="*/ 66 h 72"/>
                <a:gd name="T22" fmla="*/ 57 w 60"/>
                <a:gd name="T23" fmla="*/ 68 h 72"/>
                <a:gd name="T24" fmla="*/ 55 w 60"/>
                <a:gd name="T25" fmla="*/ 69 h 72"/>
                <a:gd name="T26" fmla="*/ 43 w 60"/>
                <a:gd name="T27" fmla="*/ 71 h 72"/>
                <a:gd name="T28" fmla="*/ 31 w 60"/>
                <a:gd name="T29" fmla="*/ 72 h 72"/>
                <a:gd name="T30" fmla="*/ 20 w 60"/>
                <a:gd name="T31" fmla="*/ 70 h 72"/>
                <a:gd name="T32" fmla="*/ 10 w 60"/>
                <a:gd name="T33" fmla="*/ 65 h 72"/>
                <a:gd name="T34" fmla="*/ 3 w 60"/>
                <a:gd name="T35" fmla="*/ 56 h 72"/>
                <a:gd name="T36" fmla="*/ 0 w 60"/>
                <a:gd name="T37" fmla="*/ 41 h 72"/>
                <a:gd name="T38" fmla="*/ 0 w 60"/>
                <a:gd name="T39" fmla="*/ 29 h 72"/>
                <a:gd name="T40" fmla="*/ 8 w 60"/>
                <a:gd name="T41" fmla="*/ 8 h 72"/>
                <a:gd name="T42" fmla="*/ 30 w 60"/>
                <a:gd name="T43" fmla="*/ 0 h 72"/>
                <a:gd name="T44" fmla="*/ 43 w 60"/>
                <a:gd name="T45" fmla="*/ 2 h 72"/>
                <a:gd name="T46" fmla="*/ 52 w 60"/>
                <a:gd name="T47" fmla="*/ 8 h 72"/>
                <a:gd name="T48" fmla="*/ 58 w 60"/>
                <a:gd name="T49" fmla="*/ 17 h 72"/>
                <a:gd name="T50" fmla="*/ 60 w 60"/>
                <a:gd name="T51" fmla="*/ 29 h 72"/>
                <a:gd name="T52" fmla="*/ 60 w 60"/>
                <a:gd name="T53" fmla="*/ 36 h 72"/>
                <a:gd name="T54" fmla="*/ 57 w 60"/>
                <a:gd name="T55" fmla="*/ 39 h 72"/>
                <a:gd name="T56" fmla="*/ 48 w 60"/>
                <a:gd name="T57" fmla="*/ 29 h 72"/>
                <a:gd name="T58" fmla="*/ 43 w 60"/>
                <a:gd name="T59" fmla="*/ 14 h 72"/>
                <a:gd name="T60" fmla="*/ 30 w 60"/>
                <a:gd name="T61" fmla="*/ 10 h 72"/>
                <a:gd name="T62" fmla="*/ 17 w 60"/>
                <a:gd name="T63" fmla="*/ 14 h 72"/>
                <a:gd name="T64" fmla="*/ 12 w 60"/>
                <a:gd name="T65" fmla="*/ 29 h 72"/>
                <a:gd name="T66" fmla="*/ 12 w 60"/>
                <a:gd name="T67" fmla="*/ 31 h 72"/>
                <a:gd name="T68" fmla="*/ 48 w 60"/>
                <a:gd name="T69" fmla="*/ 31 h 72"/>
                <a:gd name="T70" fmla="*/ 48 w 60"/>
                <a:gd name="T71" fmla="*/ 2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72">
                  <a:moveTo>
                    <a:pt x="57" y="39"/>
                  </a:moveTo>
                  <a:cubicBezTo>
                    <a:pt x="12" y="39"/>
                    <a:pt x="12" y="39"/>
                    <a:pt x="12" y="39"/>
                  </a:cubicBezTo>
                  <a:cubicBezTo>
                    <a:pt x="12" y="41"/>
                    <a:pt x="12" y="41"/>
                    <a:pt x="12" y="41"/>
                  </a:cubicBezTo>
                  <a:cubicBezTo>
                    <a:pt x="12" y="49"/>
                    <a:pt x="14" y="54"/>
                    <a:pt x="17" y="57"/>
                  </a:cubicBezTo>
                  <a:cubicBezTo>
                    <a:pt x="20" y="60"/>
                    <a:pt x="25" y="62"/>
                    <a:pt x="31" y="62"/>
                  </a:cubicBezTo>
                  <a:cubicBezTo>
                    <a:pt x="35" y="62"/>
                    <a:pt x="39" y="62"/>
                    <a:pt x="43" y="61"/>
                  </a:cubicBezTo>
                  <a:cubicBezTo>
                    <a:pt x="48" y="61"/>
                    <a:pt x="51" y="61"/>
                    <a:pt x="55" y="60"/>
                  </a:cubicBezTo>
                  <a:cubicBezTo>
                    <a:pt x="55" y="60"/>
                    <a:pt x="55" y="60"/>
                    <a:pt x="55" y="60"/>
                  </a:cubicBezTo>
                  <a:cubicBezTo>
                    <a:pt x="56" y="60"/>
                    <a:pt x="56" y="60"/>
                    <a:pt x="57" y="61"/>
                  </a:cubicBezTo>
                  <a:cubicBezTo>
                    <a:pt x="57" y="61"/>
                    <a:pt x="57" y="61"/>
                    <a:pt x="57" y="62"/>
                  </a:cubicBezTo>
                  <a:cubicBezTo>
                    <a:pt x="57" y="66"/>
                    <a:pt x="57" y="66"/>
                    <a:pt x="57" y="66"/>
                  </a:cubicBezTo>
                  <a:cubicBezTo>
                    <a:pt x="57" y="67"/>
                    <a:pt x="57" y="68"/>
                    <a:pt x="57" y="68"/>
                  </a:cubicBezTo>
                  <a:cubicBezTo>
                    <a:pt x="56" y="69"/>
                    <a:pt x="56" y="69"/>
                    <a:pt x="55" y="69"/>
                  </a:cubicBezTo>
                  <a:cubicBezTo>
                    <a:pt x="51" y="70"/>
                    <a:pt x="47" y="71"/>
                    <a:pt x="43" y="71"/>
                  </a:cubicBezTo>
                  <a:cubicBezTo>
                    <a:pt x="39" y="71"/>
                    <a:pt x="35" y="72"/>
                    <a:pt x="31" y="72"/>
                  </a:cubicBezTo>
                  <a:cubicBezTo>
                    <a:pt x="27" y="72"/>
                    <a:pt x="23" y="71"/>
                    <a:pt x="20" y="70"/>
                  </a:cubicBezTo>
                  <a:cubicBezTo>
                    <a:pt x="16" y="69"/>
                    <a:pt x="13" y="67"/>
                    <a:pt x="10" y="65"/>
                  </a:cubicBezTo>
                  <a:cubicBezTo>
                    <a:pt x="7" y="63"/>
                    <a:pt x="5" y="60"/>
                    <a:pt x="3" y="56"/>
                  </a:cubicBezTo>
                  <a:cubicBezTo>
                    <a:pt x="1" y="52"/>
                    <a:pt x="0" y="47"/>
                    <a:pt x="0" y="41"/>
                  </a:cubicBezTo>
                  <a:cubicBezTo>
                    <a:pt x="0" y="29"/>
                    <a:pt x="0" y="29"/>
                    <a:pt x="0" y="29"/>
                  </a:cubicBezTo>
                  <a:cubicBezTo>
                    <a:pt x="0" y="20"/>
                    <a:pt x="3" y="13"/>
                    <a:pt x="8" y="8"/>
                  </a:cubicBezTo>
                  <a:cubicBezTo>
                    <a:pt x="13" y="2"/>
                    <a:pt x="20" y="0"/>
                    <a:pt x="30" y="0"/>
                  </a:cubicBezTo>
                  <a:cubicBezTo>
                    <a:pt x="35" y="0"/>
                    <a:pt x="39" y="0"/>
                    <a:pt x="43" y="2"/>
                  </a:cubicBezTo>
                  <a:cubicBezTo>
                    <a:pt x="47" y="3"/>
                    <a:pt x="50" y="5"/>
                    <a:pt x="52" y="8"/>
                  </a:cubicBezTo>
                  <a:cubicBezTo>
                    <a:pt x="55" y="10"/>
                    <a:pt x="56" y="14"/>
                    <a:pt x="58" y="17"/>
                  </a:cubicBezTo>
                  <a:cubicBezTo>
                    <a:pt x="59" y="21"/>
                    <a:pt x="60" y="25"/>
                    <a:pt x="60" y="29"/>
                  </a:cubicBezTo>
                  <a:cubicBezTo>
                    <a:pt x="60" y="36"/>
                    <a:pt x="60" y="36"/>
                    <a:pt x="60" y="36"/>
                  </a:cubicBezTo>
                  <a:cubicBezTo>
                    <a:pt x="60" y="38"/>
                    <a:pt x="59" y="39"/>
                    <a:pt x="57" y="39"/>
                  </a:cubicBezTo>
                  <a:close/>
                  <a:moveTo>
                    <a:pt x="48" y="29"/>
                  </a:moveTo>
                  <a:cubicBezTo>
                    <a:pt x="48" y="22"/>
                    <a:pt x="46" y="17"/>
                    <a:pt x="43" y="14"/>
                  </a:cubicBezTo>
                  <a:cubicBezTo>
                    <a:pt x="40" y="11"/>
                    <a:pt x="36" y="10"/>
                    <a:pt x="30" y="10"/>
                  </a:cubicBezTo>
                  <a:cubicBezTo>
                    <a:pt x="24" y="10"/>
                    <a:pt x="20" y="11"/>
                    <a:pt x="17" y="14"/>
                  </a:cubicBezTo>
                  <a:cubicBezTo>
                    <a:pt x="14" y="18"/>
                    <a:pt x="12" y="23"/>
                    <a:pt x="12" y="29"/>
                  </a:cubicBezTo>
                  <a:cubicBezTo>
                    <a:pt x="12" y="31"/>
                    <a:pt x="12" y="31"/>
                    <a:pt x="12" y="31"/>
                  </a:cubicBezTo>
                  <a:cubicBezTo>
                    <a:pt x="48" y="31"/>
                    <a:pt x="48" y="31"/>
                    <a:pt x="48" y="31"/>
                  </a:cubicBezTo>
                  <a:lnTo>
                    <a:pt x="48"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Freeform 260">
              <a:extLst>
                <a:ext uri="{FF2B5EF4-FFF2-40B4-BE49-F238E27FC236}">
                  <a16:creationId xmlns:a16="http://schemas.microsoft.com/office/drawing/2014/main" id="{F9B9D26C-2E0F-4749-AF2D-4D0DCD81FEF4}"/>
                </a:ext>
              </a:extLst>
            </p:cNvPr>
            <p:cNvSpPr>
              <a:spLocks/>
            </p:cNvSpPr>
            <p:nvPr/>
          </p:nvSpPr>
          <p:spPr bwMode="auto">
            <a:xfrm>
              <a:off x="7919727" y="1914925"/>
              <a:ext cx="158360" cy="234986"/>
            </a:xfrm>
            <a:custGeom>
              <a:avLst/>
              <a:gdLst>
                <a:gd name="T0" fmla="*/ 49 w 49"/>
                <a:gd name="T1" fmla="*/ 53 h 72"/>
                <a:gd name="T2" fmla="*/ 42 w 49"/>
                <a:gd name="T3" fmla="*/ 67 h 72"/>
                <a:gd name="T4" fmla="*/ 24 w 49"/>
                <a:gd name="T5" fmla="*/ 72 h 72"/>
                <a:gd name="T6" fmla="*/ 20 w 49"/>
                <a:gd name="T7" fmla="*/ 71 h 72"/>
                <a:gd name="T8" fmla="*/ 14 w 49"/>
                <a:gd name="T9" fmla="*/ 71 h 72"/>
                <a:gd name="T10" fmla="*/ 8 w 49"/>
                <a:gd name="T11" fmla="*/ 70 h 72"/>
                <a:gd name="T12" fmla="*/ 3 w 49"/>
                <a:gd name="T13" fmla="*/ 70 h 72"/>
                <a:gd name="T14" fmla="*/ 0 w 49"/>
                <a:gd name="T15" fmla="*/ 67 h 72"/>
                <a:gd name="T16" fmla="*/ 0 w 49"/>
                <a:gd name="T17" fmla="*/ 63 h 72"/>
                <a:gd name="T18" fmla="*/ 1 w 49"/>
                <a:gd name="T19" fmla="*/ 61 h 72"/>
                <a:gd name="T20" fmla="*/ 3 w 49"/>
                <a:gd name="T21" fmla="*/ 61 h 72"/>
                <a:gd name="T22" fmla="*/ 3 w 49"/>
                <a:gd name="T23" fmla="*/ 61 h 72"/>
                <a:gd name="T24" fmla="*/ 8 w 49"/>
                <a:gd name="T25" fmla="*/ 61 h 72"/>
                <a:gd name="T26" fmla="*/ 14 w 49"/>
                <a:gd name="T27" fmla="*/ 62 h 72"/>
                <a:gd name="T28" fmla="*/ 20 w 49"/>
                <a:gd name="T29" fmla="*/ 62 h 72"/>
                <a:gd name="T30" fmla="*/ 24 w 49"/>
                <a:gd name="T31" fmla="*/ 62 h 72"/>
                <a:gd name="T32" fmla="*/ 34 w 49"/>
                <a:gd name="T33" fmla="*/ 60 h 72"/>
                <a:gd name="T34" fmla="*/ 37 w 49"/>
                <a:gd name="T35" fmla="*/ 53 h 72"/>
                <a:gd name="T36" fmla="*/ 35 w 49"/>
                <a:gd name="T37" fmla="*/ 48 h 72"/>
                <a:gd name="T38" fmla="*/ 27 w 49"/>
                <a:gd name="T39" fmla="*/ 42 h 72"/>
                <a:gd name="T40" fmla="*/ 14 w 49"/>
                <a:gd name="T41" fmla="*/ 35 h 72"/>
                <a:gd name="T42" fmla="*/ 4 w 49"/>
                <a:gd name="T43" fmla="*/ 27 h 72"/>
                <a:gd name="T44" fmla="*/ 0 w 49"/>
                <a:gd name="T45" fmla="*/ 17 h 72"/>
                <a:gd name="T46" fmla="*/ 2 w 49"/>
                <a:gd name="T47" fmla="*/ 8 h 72"/>
                <a:gd name="T48" fmla="*/ 7 w 49"/>
                <a:gd name="T49" fmla="*/ 3 h 72"/>
                <a:gd name="T50" fmla="*/ 15 w 49"/>
                <a:gd name="T51" fmla="*/ 0 h 72"/>
                <a:gd name="T52" fmla="*/ 24 w 49"/>
                <a:gd name="T53" fmla="*/ 0 h 72"/>
                <a:gd name="T54" fmla="*/ 35 w 49"/>
                <a:gd name="T55" fmla="*/ 0 h 72"/>
                <a:gd name="T56" fmla="*/ 45 w 49"/>
                <a:gd name="T57" fmla="*/ 1 h 72"/>
                <a:gd name="T58" fmla="*/ 48 w 49"/>
                <a:gd name="T59" fmla="*/ 4 h 72"/>
                <a:gd name="T60" fmla="*/ 48 w 49"/>
                <a:gd name="T61" fmla="*/ 8 h 72"/>
                <a:gd name="T62" fmla="*/ 45 w 49"/>
                <a:gd name="T63" fmla="*/ 10 h 72"/>
                <a:gd name="T64" fmla="*/ 45 w 49"/>
                <a:gd name="T65" fmla="*/ 10 h 72"/>
                <a:gd name="T66" fmla="*/ 36 w 49"/>
                <a:gd name="T67" fmla="*/ 10 h 72"/>
                <a:gd name="T68" fmla="*/ 24 w 49"/>
                <a:gd name="T69" fmla="*/ 9 h 72"/>
                <a:gd name="T70" fmla="*/ 15 w 49"/>
                <a:gd name="T71" fmla="*/ 11 h 72"/>
                <a:gd name="T72" fmla="*/ 12 w 49"/>
                <a:gd name="T73" fmla="*/ 17 h 72"/>
                <a:gd name="T74" fmla="*/ 14 w 49"/>
                <a:gd name="T75" fmla="*/ 22 h 72"/>
                <a:gd name="T76" fmla="*/ 21 w 49"/>
                <a:gd name="T77" fmla="*/ 26 h 72"/>
                <a:gd name="T78" fmla="*/ 34 w 49"/>
                <a:gd name="T79" fmla="*/ 34 h 72"/>
                <a:gd name="T80" fmla="*/ 46 w 49"/>
                <a:gd name="T81" fmla="*/ 43 h 72"/>
                <a:gd name="T82" fmla="*/ 49 w 49"/>
                <a:gd name="T83" fmla="*/ 53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9" h="72">
                  <a:moveTo>
                    <a:pt x="49" y="53"/>
                  </a:moveTo>
                  <a:cubicBezTo>
                    <a:pt x="49" y="59"/>
                    <a:pt x="47" y="64"/>
                    <a:pt x="42" y="67"/>
                  </a:cubicBezTo>
                  <a:cubicBezTo>
                    <a:pt x="38" y="70"/>
                    <a:pt x="32" y="72"/>
                    <a:pt x="24" y="72"/>
                  </a:cubicBezTo>
                  <a:cubicBezTo>
                    <a:pt x="23" y="72"/>
                    <a:pt x="21" y="71"/>
                    <a:pt x="20" y="71"/>
                  </a:cubicBezTo>
                  <a:cubicBezTo>
                    <a:pt x="18" y="71"/>
                    <a:pt x="16" y="71"/>
                    <a:pt x="14" y="71"/>
                  </a:cubicBezTo>
                  <a:cubicBezTo>
                    <a:pt x="12" y="71"/>
                    <a:pt x="10" y="71"/>
                    <a:pt x="8" y="70"/>
                  </a:cubicBezTo>
                  <a:cubicBezTo>
                    <a:pt x="6" y="70"/>
                    <a:pt x="5" y="70"/>
                    <a:pt x="3" y="70"/>
                  </a:cubicBezTo>
                  <a:cubicBezTo>
                    <a:pt x="1" y="69"/>
                    <a:pt x="0" y="68"/>
                    <a:pt x="0" y="67"/>
                  </a:cubicBezTo>
                  <a:cubicBezTo>
                    <a:pt x="0" y="63"/>
                    <a:pt x="0" y="63"/>
                    <a:pt x="0" y="63"/>
                  </a:cubicBezTo>
                  <a:cubicBezTo>
                    <a:pt x="0" y="62"/>
                    <a:pt x="0" y="62"/>
                    <a:pt x="1" y="61"/>
                  </a:cubicBezTo>
                  <a:cubicBezTo>
                    <a:pt x="1" y="61"/>
                    <a:pt x="2" y="61"/>
                    <a:pt x="3" y="61"/>
                  </a:cubicBezTo>
                  <a:cubicBezTo>
                    <a:pt x="3" y="61"/>
                    <a:pt x="3" y="61"/>
                    <a:pt x="3" y="61"/>
                  </a:cubicBezTo>
                  <a:cubicBezTo>
                    <a:pt x="5" y="61"/>
                    <a:pt x="6" y="61"/>
                    <a:pt x="8" y="61"/>
                  </a:cubicBezTo>
                  <a:cubicBezTo>
                    <a:pt x="10" y="61"/>
                    <a:pt x="12" y="62"/>
                    <a:pt x="14" y="62"/>
                  </a:cubicBezTo>
                  <a:cubicBezTo>
                    <a:pt x="16" y="62"/>
                    <a:pt x="18" y="62"/>
                    <a:pt x="20" y="62"/>
                  </a:cubicBezTo>
                  <a:cubicBezTo>
                    <a:pt x="21" y="62"/>
                    <a:pt x="23" y="62"/>
                    <a:pt x="24" y="62"/>
                  </a:cubicBezTo>
                  <a:cubicBezTo>
                    <a:pt x="28" y="62"/>
                    <a:pt x="32" y="61"/>
                    <a:pt x="34" y="60"/>
                  </a:cubicBezTo>
                  <a:cubicBezTo>
                    <a:pt x="36" y="59"/>
                    <a:pt x="37" y="57"/>
                    <a:pt x="37" y="53"/>
                  </a:cubicBezTo>
                  <a:cubicBezTo>
                    <a:pt x="37" y="51"/>
                    <a:pt x="37" y="49"/>
                    <a:pt x="35" y="48"/>
                  </a:cubicBezTo>
                  <a:cubicBezTo>
                    <a:pt x="34" y="47"/>
                    <a:pt x="31" y="45"/>
                    <a:pt x="27" y="42"/>
                  </a:cubicBezTo>
                  <a:cubicBezTo>
                    <a:pt x="14" y="35"/>
                    <a:pt x="14" y="35"/>
                    <a:pt x="14" y="35"/>
                  </a:cubicBezTo>
                  <a:cubicBezTo>
                    <a:pt x="10" y="32"/>
                    <a:pt x="6" y="30"/>
                    <a:pt x="4" y="27"/>
                  </a:cubicBezTo>
                  <a:cubicBezTo>
                    <a:pt x="1" y="24"/>
                    <a:pt x="0" y="21"/>
                    <a:pt x="0" y="17"/>
                  </a:cubicBezTo>
                  <a:cubicBezTo>
                    <a:pt x="0" y="13"/>
                    <a:pt x="1" y="11"/>
                    <a:pt x="2" y="8"/>
                  </a:cubicBezTo>
                  <a:cubicBezTo>
                    <a:pt x="3" y="6"/>
                    <a:pt x="5" y="5"/>
                    <a:pt x="7" y="3"/>
                  </a:cubicBezTo>
                  <a:cubicBezTo>
                    <a:pt x="9" y="2"/>
                    <a:pt x="12" y="1"/>
                    <a:pt x="15" y="0"/>
                  </a:cubicBezTo>
                  <a:cubicBezTo>
                    <a:pt x="18" y="0"/>
                    <a:pt x="21" y="0"/>
                    <a:pt x="24" y="0"/>
                  </a:cubicBezTo>
                  <a:cubicBezTo>
                    <a:pt x="28" y="0"/>
                    <a:pt x="32" y="0"/>
                    <a:pt x="35" y="0"/>
                  </a:cubicBezTo>
                  <a:cubicBezTo>
                    <a:pt x="39" y="0"/>
                    <a:pt x="42" y="1"/>
                    <a:pt x="45" y="1"/>
                  </a:cubicBezTo>
                  <a:cubicBezTo>
                    <a:pt x="47" y="2"/>
                    <a:pt x="48" y="2"/>
                    <a:pt x="48" y="4"/>
                  </a:cubicBezTo>
                  <a:cubicBezTo>
                    <a:pt x="48" y="8"/>
                    <a:pt x="48" y="8"/>
                    <a:pt x="48" y="8"/>
                  </a:cubicBezTo>
                  <a:cubicBezTo>
                    <a:pt x="48" y="10"/>
                    <a:pt x="47" y="10"/>
                    <a:pt x="45" y="10"/>
                  </a:cubicBezTo>
                  <a:cubicBezTo>
                    <a:pt x="45" y="10"/>
                    <a:pt x="45" y="10"/>
                    <a:pt x="45" y="10"/>
                  </a:cubicBezTo>
                  <a:cubicBezTo>
                    <a:pt x="43" y="10"/>
                    <a:pt x="40" y="10"/>
                    <a:pt x="36" y="10"/>
                  </a:cubicBezTo>
                  <a:cubicBezTo>
                    <a:pt x="32" y="9"/>
                    <a:pt x="28" y="9"/>
                    <a:pt x="24" y="9"/>
                  </a:cubicBezTo>
                  <a:cubicBezTo>
                    <a:pt x="21" y="9"/>
                    <a:pt x="18" y="10"/>
                    <a:pt x="15" y="11"/>
                  </a:cubicBezTo>
                  <a:cubicBezTo>
                    <a:pt x="13" y="11"/>
                    <a:pt x="12" y="13"/>
                    <a:pt x="12" y="17"/>
                  </a:cubicBezTo>
                  <a:cubicBezTo>
                    <a:pt x="12" y="19"/>
                    <a:pt x="13" y="20"/>
                    <a:pt x="14" y="22"/>
                  </a:cubicBezTo>
                  <a:cubicBezTo>
                    <a:pt x="16" y="23"/>
                    <a:pt x="18" y="25"/>
                    <a:pt x="21" y="26"/>
                  </a:cubicBezTo>
                  <a:cubicBezTo>
                    <a:pt x="34" y="34"/>
                    <a:pt x="34" y="34"/>
                    <a:pt x="34" y="34"/>
                  </a:cubicBezTo>
                  <a:cubicBezTo>
                    <a:pt x="40" y="37"/>
                    <a:pt x="44" y="40"/>
                    <a:pt x="46" y="43"/>
                  </a:cubicBezTo>
                  <a:cubicBezTo>
                    <a:pt x="48" y="46"/>
                    <a:pt x="49" y="49"/>
                    <a:pt x="49"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Rectangle 261">
              <a:extLst>
                <a:ext uri="{FF2B5EF4-FFF2-40B4-BE49-F238E27FC236}">
                  <a16:creationId xmlns:a16="http://schemas.microsoft.com/office/drawing/2014/main" id="{1F00AFD9-9E34-4010-AEC8-D55883CA0469}"/>
                </a:ext>
              </a:extLst>
            </p:cNvPr>
            <p:cNvSpPr>
              <a:spLocks noChangeArrowheads="1"/>
            </p:cNvSpPr>
            <p:nvPr/>
          </p:nvSpPr>
          <p:spPr bwMode="auto">
            <a:xfrm>
              <a:off x="7001918" y="2110746"/>
              <a:ext cx="177091" cy="35759"/>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Freeform 262">
              <a:extLst>
                <a:ext uri="{FF2B5EF4-FFF2-40B4-BE49-F238E27FC236}">
                  <a16:creationId xmlns:a16="http://schemas.microsoft.com/office/drawing/2014/main" id="{1CDABDB4-C3B1-4A63-B46E-7A04C1FBDAE9}"/>
                </a:ext>
              </a:extLst>
            </p:cNvPr>
            <p:cNvSpPr>
              <a:spLocks/>
            </p:cNvSpPr>
            <p:nvPr/>
          </p:nvSpPr>
          <p:spPr bwMode="auto">
            <a:xfrm>
              <a:off x="7012135" y="1833191"/>
              <a:ext cx="180497" cy="313315"/>
            </a:xfrm>
            <a:custGeom>
              <a:avLst/>
              <a:gdLst>
                <a:gd name="T0" fmla="*/ 7 w 56"/>
                <a:gd name="T1" fmla="*/ 5 h 96"/>
                <a:gd name="T2" fmla="*/ 30 w 56"/>
                <a:gd name="T3" fmla="*/ 0 h 96"/>
                <a:gd name="T4" fmla="*/ 41 w 56"/>
                <a:gd name="T5" fmla="*/ 0 h 96"/>
                <a:gd name="T6" fmla="*/ 52 w 56"/>
                <a:gd name="T7" fmla="*/ 2 h 96"/>
                <a:gd name="T8" fmla="*/ 54 w 56"/>
                <a:gd name="T9" fmla="*/ 3 h 96"/>
                <a:gd name="T10" fmla="*/ 54 w 56"/>
                <a:gd name="T11" fmla="*/ 5 h 96"/>
                <a:gd name="T12" fmla="*/ 54 w 56"/>
                <a:gd name="T13" fmla="*/ 9 h 96"/>
                <a:gd name="T14" fmla="*/ 52 w 56"/>
                <a:gd name="T15" fmla="*/ 12 h 96"/>
                <a:gd name="T16" fmla="*/ 52 w 56"/>
                <a:gd name="T17" fmla="*/ 12 h 96"/>
                <a:gd name="T18" fmla="*/ 41 w 56"/>
                <a:gd name="T19" fmla="*/ 10 h 96"/>
                <a:gd name="T20" fmla="*/ 30 w 56"/>
                <a:gd name="T21" fmla="*/ 10 h 96"/>
                <a:gd name="T22" fmla="*/ 15 w 56"/>
                <a:gd name="T23" fmla="*/ 13 h 96"/>
                <a:gd name="T24" fmla="*/ 11 w 56"/>
                <a:gd name="T25" fmla="*/ 23 h 96"/>
                <a:gd name="T26" fmla="*/ 11 w 56"/>
                <a:gd name="T27" fmla="*/ 28 h 96"/>
                <a:gd name="T28" fmla="*/ 13 w 56"/>
                <a:gd name="T29" fmla="*/ 32 h 96"/>
                <a:gd name="T30" fmla="*/ 17 w 56"/>
                <a:gd name="T31" fmla="*/ 36 h 96"/>
                <a:gd name="T32" fmla="*/ 24 w 56"/>
                <a:gd name="T33" fmla="*/ 41 h 96"/>
                <a:gd name="T34" fmla="*/ 36 w 56"/>
                <a:gd name="T35" fmla="*/ 49 h 96"/>
                <a:gd name="T36" fmla="*/ 51 w 56"/>
                <a:gd name="T37" fmla="*/ 65 h 96"/>
                <a:gd name="T38" fmla="*/ 56 w 56"/>
                <a:gd name="T39" fmla="*/ 83 h 96"/>
                <a:gd name="T40" fmla="*/ 56 w 56"/>
                <a:gd name="T41" fmla="*/ 93 h 96"/>
                <a:gd name="T42" fmla="*/ 55 w 56"/>
                <a:gd name="T43" fmla="*/ 95 h 96"/>
                <a:gd name="T44" fmla="*/ 53 w 56"/>
                <a:gd name="T45" fmla="*/ 96 h 96"/>
                <a:gd name="T46" fmla="*/ 3 w 56"/>
                <a:gd name="T47" fmla="*/ 96 h 96"/>
                <a:gd name="T48" fmla="*/ 2 w 56"/>
                <a:gd name="T49" fmla="*/ 95 h 96"/>
                <a:gd name="T50" fmla="*/ 1 w 56"/>
                <a:gd name="T51" fmla="*/ 93 h 96"/>
                <a:gd name="T52" fmla="*/ 1 w 56"/>
                <a:gd name="T53" fmla="*/ 88 h 96"/>
                <a:gd name="T54" fmla="*/ 2 w 56"/>
                <a:gd name="T55" fmla="*/ 86 h 96"/>
                <a:gd name="T56" fmla="*/ 3 w 56"/>
                <a:gd name="T57" fmla="*/ 85 h 96"/>
                <a:gd name="T58" fmla="*/ 46 w 56"/>
                <a:gd name="T59" fmla="*/ 85 h 96"/>
                <a:gd name="T60" fmla="*/ 46 w 56"/>
                <a:gd name="T61" fmla="*/ 83 h 96"/>
                <a:gd name="T62" fmla="*/ 45 w 56"/>
                <a:gd name="T63" fmla="*/ 75 h 96"/>
                <a:gd name="T64" fmla="*/ 42 w 56"/>
                <a:gd name="T65" fmla="*/ 69 h 96"/>
                <a:gd name="T66" fmla="*/ 37 w 56"/>
                <a:gd name="T67" fmla="*/ 62 h 96"/>
                <a:gd name="T68" fmla="*/ 28 w 56"/>
                <a:gd name="T69" fmla="*/ 56 h 96"/>
                <a:gd name="T70" fmla="*/ 16 w 56"/>
                <a:gd name="T71" fmla="*/ 47 h 96"/>
                <a:gd name="T72" fmla="*/ 3 w 56"/>
                <a:gd name="T73" fmla="*/ 36 h 96"/>
                <a:gd name="T74" fmla="*/ 0 w 56"/>
                <a:gd name="T75" fmla="*/ 23 h 96"/>
                <a:gd name="T76" fmla="*/ 7 w 56"/>
                <a:gd name="T77" fmla="*/ 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 h="96">
                  <a:moveTo>
                    <a:pt x="7" y="5"/>
                  </a:moveTo>
                  <a:cubicBezTo>
                    <a:pt x="12" y="2"/>
                    <a:pt x="19" y="0"/>
                    <a:pt x="30" y="0"/>
                  </a:cubicBezTo>
                  <a:cubicBezTo>
                    <a:pt x="33" y="0"/>
                    <a:pt x="37" y="0"/>
                    <a:pt x="41" y="0"/>
                  </a:cubicBezTo>
                  <a:cubicBezTo>
                    <a:pt x="45" y="1"/>
                    <a:pt x="49" y="1"/>
                    <a:pt x="52" y="2"/>
                  </a:cubicBezTo>
                  <a:cubicBezTo>
                    <a:pt x="53" y="3"/>
                    <a:pt x="53" y="3"/>
                    <a:pt x="54" y="3"/>
                  </a:cubicBezTo>
                  <a:cubicBezTo>
                    <a:pt x="54" y="3"/>
                    <a:pt x="54" y="4"/>
                    <a:pt x="54" y="5"/>
                  </a:cubicBezTo>
                  <a:cubicBezTo>
                    <a:pt x="54" y="9"/>
                    <a:pt x="54" y="9"/>
                    <a:pt x="54" y="9"/>
                  </a:cubicBezTo>
                  <a:cubicBezTo>
                    <a:pt x="54" y="11"/>
                    <a:pt x="54" y="12"/>
                    <a:pt x="52" y="12"/>
                  </a:cubicBezTo>
                  <a:cubicBezTo>
                    <a:pt x="52" y="12"/>
                    <a:pt x="52" y="12"/>
                    <a:pt x="52" y="12"/>
                  </a:cubicBezTo>
                  <a:cubicBezTo>
                    <a:pt x="48" y="11"/>
                    <a:pt x="45" y="11"/>
                    <a:pt x="41" y="10"/>
                  </a:cubicBezTo>
                  <a:cubicBezTo>
                    <a:pt x="37" y="10"/>
                    <a:pt x="33" y="10"/>
                    <a:pt x="30" y="10"/>
                  </a:cubicBezTo>
                  <a:cubicBezTo>
                    <a:pt x="23" y="10"/>
                    <a:pt x="18" y="11"/>
                    <a:pt x="15" y="13"/>
                  </a:cubicBezTo>
                  <a:cubicBezTo>
                    <a:pt x="12" y="15"/>
                    <a:pt x="11" y="18"/>
                    <a:pt x="11" y="23"/>
                  </a:cubicBezTo>
                  <a:cubicBezTo>
                    <a:pt x="11" y="25"/>
                    <a:pt x="11" y="26"/>
                    <a:pt x="11" y="28"/>
                  </a:cubicBezTo>
                  <a:cubicBezTo>
                    <a:pt x="12" y="29"/>
                    <a:pt x="12" y="31"/>
                    <a:pt x="13" y="32"/>
                  </a:cubicBezTo>
                  <a:cubicBezTo>
                    <a:pt x="14" y="33"/>
                    <a:pt x="16" y="35"/>
                    <a:pt x="17" y="36"/>
                  </a:cubicBezTo>
                  <a:cubicBezTo>
                    <a:pt x="19" y="37"/>
                    <a:pt x="21" y="39"/>
                    <a:pt x="24" y="41"/>
                  </a:cubicBezTo>
                  <a:cubicBezTo>
                    <a:pt x="36" y="49"/>
                    <a:pt x="36" y="49"/>
                    <a:pt x="36" y="49"/>
                  </a:cubicBezTo>
                  <a:cubicBezTo>
                    <a:pt x="43" y="54"/>
                    <a:pt x="48" y="59"/>
                    <a:pt x="51" y="65"/>
                  </a:cubicBezTo>
                  <a:cubicBezTo>
                    <a:pt x="54" y="70"/>
                    <a:pt x="56" y="76"/>
                    <a:pt x="56" y="83"/>
                  </a:cubicBezTo>
                  <a:cubicBezTo>
                    <a:pt x="56" y="93"/>
                    <a:pt x="56" y="93"/>
                    <a:pt x="56" y="93"/>
                  </a:cubicBezTo>
                  <a:cubicBezTo>
                    <a:pt x="56" y="94"/>
                    <a:pt x="56" y="94"/>
                    <a:pt x="55" y="95"/>
                  </a:cubicBezTo>
                  <a:cubicBezTo>
                    <a:pt x="55" y="95"/>
                    <a:pt x="54" y="96"/>
                    <a:pt x="53" y="96"/>
                  </a:cubicBezTo>
                  <a:cubicBezTo>
                    <a:pt x="3" y="96"/>
                    <a:pt x="3" y="96"/>
                    <a:pt x="3" y="96"/>
                  </a:cubicBezTo>
                  <a:cubicBezTo>
                    <a:pt x="3" y="96"/>
                    <a:pt x="2" y="95"/>
                    <a:pt x="2" y="95"/>
                  </a:cubicBezTo>
                  <a:cubicBezTo>
                    <a:pt x="1" y="94"/>
                    <a:pt x="1" y="94"/>
                    <a:pt x="1" y="93"/>
                  </a:cubicBezTo>
                  <a:cubicBezTo>
                    <a:pt x="1" y="88"/>
                    <a:pt x="1" y="88"/>
                    <a:pt x="1" y="88"/>
                  </a:cubicBezTo>
                  <a:cubicBezTo>
                    <a:pt x="1" y="87"/>
                    <a:pt x="1" y="86"/>
                    <a:pt x="2" y="86"/>
                  </a:cubicBezTo>
                  <a:cubicBezTo>
                    <a:pt x="2" y="86"/>
                    <a:pt x="3" y="85"/>
                    <a:pt x="3" y="85"/>
                  </a:cubicBezTo>
                  <a:cubicBezTo>
                    <a:pt x="46" y="85"/>
                    <a:pt x="46" y="85"/>
                    <a:pt x="46" y="85"/>
                  </a:cubicBezTo>
                  <a:cubicBezTo>
                    <a:pt x="46" y="83"/>
                    <a:pt x="46" y="83"/>
                    <a:pt x="46" y="83"/>
                  </a:cubicBezTo>
                  <a:cubicBezTo>
                    <a:pt x="46" y="80"/>
                    <a:pt x="46" y="77"/>
                    <a:pt x="45" y="75"/>
                  </a:cubicBezTo>
                  <a:cubicBezTo>
                    <a:pt x="44" y="73"/>
                    <a:pt x="44" y="71"/>
                    <a:pt x="42" y="69"/>
                  </a:cubicBezTo>
                  <a:cubicBezTo>
                    <a:pt x="41" y="66"/>
                    <a:pt x="39" y="64"/>
                    <a:pt x="37" y="62"/>
                  </a:cubicBezTo>
                  <a:cubicBezTo>
                    <a:pt x="35" y="60"/>
                    <a:pt x="32" y="58"/>
                    <a:pt x="28" y="56"/>
                  </a:cubicBezTo>
                  <a:cubicBezTo>
                    <a:pt x="16" y="47"/>
                    <a:pt x="16" y="47"/>
                    <a:pt x="16" y="47"/>
                  </a:cubicBezTo>
                  <a:cubicBezTo>
                    <a:pt x="10" y="43"/>
                    <a:pt x="6" y="39"/>
                    <a:pt x="3" y="36"/>
                  </a:cubicBezTo>
                  <a:cubicBezTo>
                    <a:pt x="1" y="32"/>
                    <a:pt x="0" y="28"/>
                    <a:pt x="0" y="23"/>
                  </a:cubicBezTo>
                  <a:cubicBezTo>
                    <a:pt x="0" y="15"/>
                    <a:pt x="2" y="9"/>
                    <a:pt x="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5" name="Rectangle 34">
            <a:extLst>
              <a:ext uri="{FF2B5EF4-FFF2-40B4-BE49-F238E27FC236}">
                <a16:creationId xmlns:a16="http://schemas.microsoft.com/office/drawing/2014/main" id="{3B62D48D-742F-4585-97E7-27E04C1E73AB}"/>
              </a:ext>
            </a:extLst>
          </p:cNvPr>
          <p:cNvSpPr/>
          <p:nvPr/>
        </p:nvSpPr>
        <p:spPr>
          <a:xfrm>
            <a:off x="10239552" y="0"/>
            <a:ext cx="1952448" cy="673772"/>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9887" h="1207779">
                <a:moveTo>
                  <a:pt x="20077" y="0"/>
                </a:moveTo>
                <a:lnTo>
                  <a:pt x="3499887" y="4553"/>
                </a:lnTo>
                <a:lnTo>
                  <a:pt x="3499887" y="1130405"/>
                </a:lnTo>
                <a:cubicBezTo>
                  <a:pt x="3499588" y="1433772"/>
                  <a:pt x="3468504" y="745115"/>
                  <a:pt x="2205570" y="775263"/>
                </a:cubicBezTo>
                <a:cubicBezTo>
                  <a:pt x="942636" y="805411"/>
                  <a:pt x="-163771" y="183848"/>
                  <a:pt x="20077"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315CBA77-EC7F-4B18-98D5-C1EA7972AC80}"/>
              </a:ext>
            </a:extLst>
          </p:cNvPr>
          <p:cNvSpPr/>
          <p:nvPr/>
        </p:nvSpPr>
        <p:spPr>
          <a:xfrm>
            <a:off x="4533900" y="3947886"/>
            <a:ext cx="7658099" cy="2184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4" name="Straight Connector 23">
            <a:extLst>
              <a:ext uri="{FF2B5EF4-FFF2-40B4-BE49-F238E27FC236}">
                <a16:creationId xmlns:a16="http://schemas.microsoft.com/office/drawing/2014/main" id="{6A810F44-2B55-464B-BB8C-B14B9A679EA9}"/>
              </a:ext>
            </a:extLst>
          </p:cNvPr>
          <p:cNvCxnSpPr>
            <a:cxnSpLocks/>
          </p:cNvCxnSpPr>
          <p:nvPr/>
        </p:nvCxnSpPr>
        <p:spPr>
          <a:xfrm>
            <a:off x="4978742" y="4282848"/>
            <a:ext cx="831508" cy="0"/>
          </a:xfrm>
          <a:prstGeom prst="line">
            <a:avLst/>
          </a:prstGeom>
          <a:ln w="127000">
            <a:gradFill flip="none" rotWithShape="1">
              <a:gsLst>
                <a:gs pos="0">
                  <a:schemeClr val="accent2">
                    <a:lumMod val="75000"/>
                  </a:schemeClr>
                </a:gs>
                <a:gs pos="100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E940B0CD-CDC3-4D1A-BED9-138021592740}"/>
              </a:ext>
            </a:extLst>
          </p:cNvPr>
          <p:cNvSpPr txBox="1"/>
          <p:nvPr/>
        </p:nvSpPr>
        <p:spPr>
          <a:xfrm>
            <a:off x="4978742" y="4554763"/>
            <a:ext cx="5507836" cy="747897"/>
          </a:xfrm>
          <a:prstGeom prst="rect">
            <a:avLst/>
          </a:prstGeom>
          <a:noFill/>
        </p:spPr>
        <p:txBody>
          <a:bodyPr wrap="square" lIns="0" tIns="0" rIns="0" bIns="0" rtlCol="0">
            <a:spAutoFit/>
          </a:bodyPr>
          <a:lstStyle/>
          <a:p>
            <a:pPr>
              <a:lnSpc>
                <a:spcPct val="80000"/>
              </a:lnSpc>
            </a:pPr>
            <a:r>
              <a:rPr lang="en-US" sz="3000" b="1" dirty="0"/>
              <a:t>Humans response to death by stroke</a:t>
            </a:r>
          </a:p>
        </p:txBody>
      </p:sp>
      <p:sp>
        <p:nvSpPr>
          <p:cNvPr id="28" name="TextBox 27">
            <a:extLst>
              <a:ext uri="{FF2B5EF4-FFF2-40B4-BE49-F238E27FC236}">
                <a16:creationId xmlns:a16="http://schemas.microsoft.com/office/drawing/2014/main" id="{CB7E72AE-21F9-48A1-9B62-3C22913145E4}"/>
              </a:ext>
            </a:extLst>
          </p:cNvPr>
          <p:cNvSpPr txBox="1"/>
          <p:nvPr/>
        </p:nvSpPr>
        <p:spPr>
          <a:xfrm>
            <a:off x="4978742" y="5272125"/>
            <a:ext cx="4905494" cy="492443"/>
          </a:xfrm>
          <a:prstGeom prst="rect">
            <a:avLst/>
          </a:prstGeom>
          <a:noFill/>
        </p:spPr>
        <p:txBody>
          <a:bodyPr wrap="square" lIns="0" tIns="0" rIns="0" bIns="0" rtlCol="0">
            <a:spAutoFit/>
          </a:bodyPr>
          <a:lstStyle/>
          <a:p>
            <a:r>
              <a:rPr lang="en-US" sz="1600" dirty="0"/>
              <a:t>An analysis performed to determine stroke detection from different factors.</a:t>
            </a:r>
          </a:p>
        </p:txBody>
      </p:sp>
      <p:sp>
        <p:nvSpPr>
          <p:cNvPr id="42" name="Slide Number Placeholder 41">
            <a:extLst>
              <a:ext uri="{FF2B5EF4-FFF2-40B4-BE49-F238E27FC236}">
                <a16:creationId xmlns:a16="http://schemas.microsoft.com/office/drawing/2014/main" id="{7681E91A-08DB-47B4-A0B7-DCF410E8C00E}"/>
              </a:ext>
            </a:extLst>
          </p:cNvPr>
          <p:cNvSpPr>
            <a:spLocks noGrp="1"/>
          </p:cNvSpPr>
          <p:nvPr>
            <p:ph type="sldNum" sz="quarter" idx="4"/>
          </p:nvPr>
        </p:nvSpPr>
        <p:spPr/>
        <p:txBody>
          <a:bodyPr/>
          <a:lstStyle/>
          <a:p>
            <a:fld id="{B84D2E29-67F4-44D8-B0E3-F54815B4F123}" type="slidenum">
              <a:rPr lang="en-US" smtClean="0"/>
              <a:pPr/>
              <a:t>2</a:t>
            </a:fld>
            <a:endParaRPr lang="en-US" dirty="0"/>
          </a:p>
        </p:txBody>
      </p:sp>
    </p:spTree>
    <p:extLst>
      <p:ext uri="{BB962C8B-B14F-4D97-AF65-F5344CB8AC3E}">
        <p14:creationId xmlns:p14="http://schemas.microsoft.com/office/powerpoint/2010/main" val="19660720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erson sitting at a table using a computer&#10;&#10;Description automatically generated">
            <a:extLst>
              <a:ext uri="{FF2B5EF4-FFF2-40B4-BE49-F238E27FC236}">
                <a16:creationId xmlns:a16="http://schemas.microsoft.com/office/drawing/2014/main" id="{8B6688E9-D0FA-4BB4-B45B-7712627B47F1}"/>
              </a:ext>
            </a:extLst>
          </p:cNvPr>
          <p:cNvPicPr>
            <a:picLocks noChangeAspect="1"/>
          </p:cNvPicPr>
          <p:nvPr/>
        </p:nvPicPr>
        <p:blipFill rotWithShape="1">
          <a:blip r:embed="rId3">
            <a:extLst>
              <a:ext uri="{28A0092B-C50C-407E-A947-70E740481C1C}">
                <a14:useLocalDpi xmlns:a14="http://schemas.microsoft.com/office/drawing/2010/main" val="0"/>
              </a:ext>
            </a:extLst>
          </a:blip>
          <a:srcRect l="35921" r="622" b="1572"/>
          <a:stretch/>
        </p:blipFill>
        <p:spPr>
          <a:xfrm>
            <a:off x="0" y="0"/>
            <a:ext cx="6124860" cy="6340446"/>
          </a:xfrm>
          <a:custGeom>
            <a:avLst/>
            <a:gdLst>
              <a:gd name="connsiteX0" fmla="*/ 0 w 6124860"/>
              <a:gd name="connsiteY0" fmla="*/ 0 h 6340446"/>
              <a:gd name="connsiteX1" fmla="*/ 5880099 w 6124860"/>
              <a:gd name="connsiteY1" fmla="*/ 0 h 6340446"/>
              <a:gd name="connsiteX2" fmla="*/ 4317999 w 6124860"/>
              <a:gd name="connsiteY2" fmla="*/ 4038600 h 6340446"/>
              <a:gd name="connsiteX3" fmla="*/ 97811 w 6124860"/>
              <a:gd name="connsiteY3" fmla="*/ 5967428 h 6340446"/>
              <a:gd name="connsiteX4" fmla="*/ 0 w 6124860"/>
              <a:gd name="connsiteY4" fmla="*/ 5880101 h 634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4860" h="6340446">
                <a:moveTo>
                  <a:pt x="0" y="0"/>
                </a:moveTo>
                <a:lnTo>
                  <a:pt x="5880099" y="0"/>
                </a:lnTo>
                <a:cubicBezTo>
                  <a:pt x="6860116" y="980017"/>
                  <a:pt x="4599516" y="1788583"/>
                  <a:pt x="4317999" y="4038600"/>
                </a:cubicBezTo>
                <a:cubicBezTo>
                  <a:pt x="4045280" y="6218304"/>
                  <a:pt x="1168335" y="6822759"/>
                  <a:pt x="97811" y="5967428"/>
                </a:cubicBezTo>
                <a:lnTo>
                  <a:pt x="0" y="5880101"/>
                </a:lnTo>
                <a:close/>
              </a:path>
            </a:pathLst>
          </a:custGeom>
        </p:spPr>
      </p:pic>
      <p:sp>
        <p:nvSpPr>
          <p:cNvPr id="4" name="Slide Number Placeholder 3">
            <a:extLst>
              <a:ext uri="{FF2B5EF4-FFF2-40B4-BE49-F238E27FC236}">
                <a16:creationId xmlns:a16="http://schemas.microsoft.com/office/drawing/2014/main" id="{CFB00E9B-2118-4795-858B-C26AD2C4A252}"/>
              </a:ext>
            </a:extLst>
          </p:cNvPr>
          <p:cNvSpPr>
            <a:spLocks noGrp="1"/>
          </p:cNvSpPr>
          <p:nvPr>
            <p:ph type="sldNum" sz="quarter" idx="4"/>
          </p:nvPr>
        </p:nvSpPr>
        <p:spPr/>
        <p:txBody>
          <a:bodyPr/>
          <a:lstStyle/>
          <a:p>
            <a:fld id="{B84D2E29-67F4-44D8-B0E3-F54815B4F123}" type="slidenum">
              <a:rPr lang="en-US" smtClean="0"/>
              <a:pPr/>
              <a:t>20</a:t>
            </a:fld>
            <a:endParaRPr lang="en-US" dirty="0"/>
          </a:p>
        </p:txBody>
      </p:sp>
      <p:sp>
        <p:nvSpPr>
          <p:cNvPr id="6" name="TextBox 5">
            <a:extLst>
              <a:ext uri="{FF2B5EF4-FFF2-40B4-BE49-F238E27FC236}">
                <a16:creationId xmlns:a16="http://schemas.microsoft.com/office/drawing/2014/main" id="{E7C7A0B5-BFB5-4409-BD0B-0255B9069DDE}"/>
              </a:ext>
            </a:extLst>
          </p:cNvPr>
          <p:cNvSpPr txBox="1"/>
          <p:nvPr/>
        </p:nvSpPr>
        <p:spPr>
          <a:xfrm>
            <a:off x="5845517" y="4554763"/>
            <a:ext cx="5507836" cy="681405"/>
          </a:xfrm>
          <a:prstGeom prst="rect">
            <a:avLst/>
          </a:prstGeom>
          <a:noFill/>
        </p:spPr>
        <p:txBody>
          <a:bodyPr wrap="square" lIns="0" tIns="0" rIns="0" bIns="0" rtlCol="0">
            <a:spAutoFit/>
          </a:bodyPr>
          <a:lstStyle/>
          <a:p>
            <a:pPr>
              <a:lnSpc>
                <a:spcPct val="80000"/>
              </a:lnSpc>
            </a:pPr>
            <a:r>
              <a:rPr lang="en-US" sz="5400" b="1" dirty="0"/>
              <a:t>THANK YOU</a:t>
            </a:r>
          </a:p>
        </p:txBody>
      </p:sp>
      <p:cxnSp>
        <p:nvCxnSpPr>
          <p:cNvPr id="7" name="Straight Connector 6">
            <a:extLst>
              <a:ext uri="{FF2B5EF4-FFF2-40B4-BE49-F238E27FC236}">
                <a16:creationId xmlns:a16="http://schemas.microsoft.com/office/drawing/2014/main" id="{930EB973-E764-4555-A34A-4F5D8AD78496}"/>
              </a:ext>
            </a:extLst>
          </p:cNvPr>
          <p:cNvCxnSpPr>
            <a:cxnSpLocks/>
          </p:cNvCxnSpPr>
          <p:nvPr/>
        </p:nvCxnSpPr>
        <p:spPr>
          <a:xfrm>
            <a:off x="5845517" y="4282848"/>
            <a:ext cx="831508" cy="0"/>
          </a:xfrm>
          <a:prstGeom prst="line">
            <a:avLst/>
          </a:prstGeom>
          <a:ln w="127000">
            <a:gradFill flip="none" rotWithShape="1">
              <a:gsLst>
                <a:gs pos="0">
                  <a:schemeClr val="accent2">
                    <a:lumMod val="75000"/>
                  </a:schemeClr>
                </a:gs>
                <a:gs pos="100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 name="Rectangle 4">
            <a:extLst>
              <a:ext uri="{FF2B5EF4-FFF2-40B4-BE49-F238E27FC236}">
                <a16:creationId xmlns:a16="http://schemas.microsoft.com/office/drawing/2014/main" id="{B210F6F7-62F4-4E9E-9E2E-B49C62584D97}"/>
              </a:ext>
            </a:extLst>
          </p:cNvPr>
          <p:cNvSpPr/>
          <p:nvPr/>
        </p:nvSpPr>
        <p:spPr>
          <a:xfrm>
            <a:off x="-1" y="0"/>
            <a:ext cx="6124861" cy="6340446"/>
          </a:xfrm>
          <a:custGeom>
            <a:avLst/>
            <a:gdLst>
              <a:gd name="connsiteX0" fmla="*/ 0 w 5880100"/>
              <a:gd name="connsiteY0" fmla="*/ 0 h 5880100"/>
              <a:gd name="connsiteX1" fmla="*/ 5880100 w 5880100"/>
              <a:gd name="connsiteY1" fmla="*/ 0 h 5880100"/>
              <a:gd name="connsiteX2" fmla="*/ 5880100 w 5880100"/>
              <a:gd name="connsiteY2" fmla="*/ 5880100 h 5880100"/>
              <a:gd name="connsiteX3" fmla="*/ 0 w 5880100"/>
              <a:gd name="connsiteY3" fmla="*/ 5880100 h 5880100"/>
              <a:gd name="connsiteX4" fmla="*/ 0 w 5880100"/>
              <a:gd name="connsiteY4" fmla="*/ 0 h 5880100"/>
              <a:gd name="connsiteX0" fmla="*/ 0 w 6615112"/>
              <a:gd name="connsiteY0" fmla="*/ 0 h 6615112"/>
              <a:gd name="connsiteX1" fmla="*/ 5880100 w 6615112"/>
              <a:gd name="connsiteY1" fmla="*/ 0 h 6615112"/>
              <a:gd name="connsiteX2" fmla="*/ 5880100 w 6615112"/>
              <a:gd name="connsiteY2" fmla="*/ 5880100 h 6615112"/>
              <a:gd name="connsiteX3" fmla="*/ 0 w 6615112"/>
              <a:gd name="connsiteY3" fmla="*/ 5880100 h 6615112"/>
              <a:gd name="connsiteX4" fmla="*/ 0 w 6615112"/>
              <a:gd name="connsiteY4" fmla="*/ 0 h 6615112"/>
              <a:gd name="connsiteX0" fmla="*/ 0 w 6145189"/>
              <a:gd name="connsiteY0" fmla="*/ 0 h 6082525"/>
              <a:gd name="connsiteX1" fmla="*/ 5880100 w 6145189"/>
              <a:gd name="connsiteY1" fmla="*/ 0 h 6082525"/>
              <a:gd name="connsiteX2" fmla="*/ 3898900 w 6145189"/>
              <a:gd name="connsiteY2" fmla="*/ 3035300 h 6082525"/>
              <a:gd name="connsiteX3" fmla="*/ 0 w 6145189"/>
              <a:gd name="connsiteY3" fmla="*/ 5880100 h 6082525"/>
              <a:gd name="connsiteX4" fmla="*/ 0 w 6145189"/>
              <a:gd name="connsiteY4" fmla="*/ 0 h 6082525"/>
              <a:gd name="connsiteX0" fmla="*/ 0 w 6085854"/>
              <a:gd name="connsiteY0" fmla="*/ 0 h 6135502"/>
              <a:gd name="connsiteX1" fmla="*/ 5880100 w 6085854"/>
              <a:gd name="connsiteY1" fmla="*/ 0 h 6135502"/>
              <a:gd name="connsiteX2" fmla="*/ 3898900 w 6085854"/>
              <a:gd name="connsiteY2" fmla="*/ 3035300 h 6135502"/>
              <a:gd name="connsiteX3" fmla="*/ 0 w 6085854"/>
              <a:gd name="connsiteY3" fmla="*/ 5880100 h 6135502"/>
              <a:gd name="connsiteX4" fmla="*/ 0 w 6085854"/>
              <a:gd name="connsiteY4" fmla="*/ 0 h 6135502"/>
              <a:gd name="connsiteX0" fmla="*/ 0 w 6113652"/>
              <a:gd name="connsiteY0" fmla="*/ 0 h 6259192"/>
              <a:gd name="connsiteX1" fmla="*/ 5880100 w 6113652"/>
              <a:gd name="connsiteY1" fmla="*/ 0 h 6259192"/>
              <a:gd name="connsiteX2" fmla="*/ 4318000 w 6113652"/>
              <a:gd name="connsiteY2" fmla="*/ 4038600 h 6259192"/>
              <a:gd name="connsiteX3" fmla="*/ 0 w 6113652"/>
              <a:gd name="connsiteY3" fmla="*/ 5880100 h 6259192"/>
              <a:gd name="connsiteX4" fmla="*/ 0 w 6113652"/>
              <a:gd name="connsiteY4" fmla="*/ 0 h 6259192"/>
              <a:gd name="connsiteX0" fmla="*/ 0 w 6124861"/>
              <a:gd name="connsiteY0" fmla="*/ 0 h 6340446"/>
              <a:gd name="connsiteX1" fmla="*/ 5880100 w 6124861"/>
              <a:gd name="connsiteY1" fmla="*/ 0 h 6340446"/>
              <a:gd name="connsiteX2" fmla="*/ 4318000 w 6124861"/>
              <a:gd name="connsiteY2" fmla="*/ 4038600 h 6340446"/>
              <a:gd name="connsiteX3" fmla="*/ 0 w 6124861"/>
              <a:gd name="connsiteY3" fmla="*/ 5880100 h 6340446"/>
              <a:gd name="connsiteX4" fmla="*/ 0 w 6124861"/>
              <a:gd name="connsiteY4" fmla="*/ 0 h 634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4861" h="6340446">
                <a:moveTo>
                  <a:pt x="0" y="0"/>
                </a:moveTo>
                <a:lnTo>
                  <a:pt x="5880100" y="0"/>
                </a:lnTo>
                <a:cubicBezTo>
                  <a:pt x="6860117" y="980017"/>
                  <a:pt x="4599517" y="1788583"/>
                  <a:pt x="4318000" y="4038600"/>
                </a:cubicBezTo>
                <a:cubicBezTo>
                  <a:pt x="4036483" y="6288617"/>
                  <a:pt x="980017" y="6860117"/>
                  <a:pt x="0" y="5880100"/>
                </a:cubicBezTo>
                <a:lnTo>
                  <a:pt x="0"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1019340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048C3A-3BE4-449B-9526-6C739FAA24E5}"/>
              </a:ext>
            </a:extLst>
          </p:cNvPr>
          <p:cNvSpPr>
            <a:spLocks noGrp="1"/>
          </p:cNvSpPr>
          <p:nvPr>
            <p:ph type="title"/>
          </p:nvPr>
        </p:nvSpPr>
        <p:spPr>
          <a:xfrm>
            <a:off x="609600" y="320880"/>
            <a:ext cx="10972800" cy="775612"/>
          </a:xfrm>
        </p:spPr>
        <p:txBody>
          <a:bodyPr/>
          <a:lstStyle/>
          <a:p>
            <a:r>
              <a:rPr lang="en-US" dirty="0"/>
              <a:t>Agenda</a:t>
            </a:r>
            <a:endParaRPr lang="en-AU" dirty="0"/>
          </a:p>
        </p:txBody>
      </p:sp>
      <p:sp>
        <p:nvSpPr>
          <p:cNvPr id="4" name="Slide Number Placeholder 3">
            <a:extLst>
              <a:ext uri="{FF2B5EF4-FFF2-40B4-BE49-F238E27FC236}">
                <a16:creationId xmlns:a16="http://schemas.microsoft.com/office/drawing/2014/main" id="{C886EBC6-DD61-4058-85A0-00BAE227DC20}"/>
              </a:ext>
            </a:extLst>
          </p:cNvPr>
          <p:cNvSpPr>
            <a:spLocks noGrp="1"/>
          </p:cNvSpPr>
          <p:nvPr>
            <p:ph type="sldNum" sz="quarter" idx="4"/>
          </p:nvPr>
        </p:nvSpPr>
        <p:spPr/>
        <p:txBody>
          <a:bodyPr/>
          <a:lstStyle/>
          <a:p>
            <a:fld id="{B84D2E29-67F4-44D8-B0E3-F54815B4F123}" type="slidenum">
              <a:rPr lang="en-US" smtClean="0"/>
              <a:pPr/>
              <a:t>3</a:t>
            </a:fld>
            <a:endParaRPr lang="en-US" dirty="0"/>
          </a:p>
        </p:txBody>
      </p:sp>
      <p:sp>
        <p:nvSpPr>
          <p:cNvPr id="7" name="Rectangle 6">
            <a:extLst>
              <a:ext uri="{FF2B5EF4-FFF2-40B4-BE49-F238E27FC236}">
                <a16:creationId xmlns:a16="http://schemas.microsoft.com/office/drawing/2014/main" id="{B920A3E8-FD85-47C5-976D-2FF6C497DD2C}"/>
              </a:ext>
            </a:extLst>
          </p:cNvPr>
          <p:cNvSpPr/>
          <p:nvPr/>
        </p:nvSpPr>
        <p:spPr>
          <a:xfrm>
            <a:off x="2460625" y="1150263"/>
            <a:ext cx="914400" cy="914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dirty="0">
                <a:latin typeface="+mj-lt"/>
              </a:rPr>
              <a:t>01</a:t>
            </a:r>
          </a:p>
        </p:txBody>
      </p:sp>
      <p:sp>
        <p:nvSpPr>
          <p:cNvPr id="9" name="Rectangle 8">
            <a:extLst>
              <a:ext uri="{FF2B5EF4-FFF2-40B4-BE49-F238E27FC236}">
                <a16:creationId xmlns:a16="http://schemas.microsoft.com/office/drawing/2014/main" id="{217D4DEA-2CE5-4DEA-9FF4-A890873292B2}"/>
              </a:ext>
            </a:extLst>
          </p:cNvPr>
          <p:cNvSpPr/>
          <p:nvPr/>
        </p:nvSpPr>
        <p:spPr>
          <a:xfrm>
            <a:off x="2460625" y="2409746"/>
            <a:ext cx="914400" cy="914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dirty="0">
                <a:latin typeface="+mj-lt"/>
              </a:rPr>
              <a:t>02</a:t>
            </a:r>
          </a:p>
        </p:txBody>
      </p:sp>
      <p:sp>
        <p:nvSpPr>
          <p:cNvPr id="11" name="Rectangle 10">
            <a:extLst>
              <a:ext uri="{FF2B5EF4-FFF2-40B4-BE49-F238E27FC236}">
                <a16:creationId xmlns:a16="http://schemas.microsoft.com/office/drawing/2014/main" id="{1CC61376-D2B8-4356-ABB2-094894314673}"/>
              </a:ext>
            </a:extLst>
          </p:cNvPr>
          <p:cNvSpPr/>
          <p:nvPr/>
        </p:nvSpPr>
        <p:spPr>
          <a:xfrm>
            <a:off x="2500499" y="5622720"/>
            <a:ext cx="914400" cy="914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dirty="0">
                <a:latin typeface="+mj-lt"/>
              </a:rPr>
              <a:t>05</a:t>
            </a:r>
          </a:p>
        </p:txBody>
      </p:sp>
      <p:sp>
        <p:nvSpPr>
          <p:cNvPr id="12" name="Rectangle 11">
            <a:extLst>
              <a:ext uri="{FF2B5EF4-FFF2-40B4-BE49-F238E27FC236}">
                <a16:creationId xmlns:a16="http://schemas.microsoft.com/office/drawing/2014/main" id="{593096DF-031E-48E8-931A-30C26548FCC2}"/>
              </a:ext>
            </a:extLst>
          </p:cNvPr>
          <p:cNvSpPr/>
          <p:nvPr/>
        </p:nvSpPr>
        <p:spPr>
          <a:xfrm>
            <a:off x="6886622" y="2435628"/>
            <a:ext cx="914400" cy="914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dirty="0">
                <a:latin typeface="+mj-lt"/>
              </a:rPr>
              <a:t>07</a:t>
            </a:r>
          </a:p>
        </p:txBody>
      </p:sp>
      <p:grpSp>
        <p:nvGrpSpPr>
          <p:cNvPr id="13" name="Group 12">
            <a:extLst>
              <a:ext uri="{FF2B5EF4-FFF2-40B4-BE49-F238E27FC236}">
                <a16:creationId xmlns:a16="http://schemas.microsoft.com/office/drawing/2014/main" id="{FCCE1589-110E-427F-B3ED-EA1F9D3A7773}"/>
              </a:ext>
            </a:extLst>
          </p:cNvPr>
          <p:cNvGrpSpPr/>
          <p:nvPr/>
        </p:nvGrpSpPr>
        <p:grpSpPr>
          <a:xfrm>
            <a:off x="3722159" y="1239551"/>
            <a:ext cx="1564216" cy="735824"/>
            <a:chOff x="3598334" y="1444620"/>
            <a:chExt cx="6745816" cy="735824"/>
          </a:xfrm>
        </p:grpSpPr>
        <p:sp>
          <p:nvSpPr>
            <p:cNvPr id="14" name="Rectangle 13">
              <a:extLst>
                <a:ext uri="{FF2B5EF4-FFF2-40B4-BE49-F238E27FC236}">
                  <a16:creationId xmlns:a16="http://schemas.microsoft.com/office/drawing/2014/main" id="{A824489A-4E72-45F3-9BC1-63C5342A253F}"/>
                </a:ext>
              </a:extLst>
            </p:cNvPr>
            <p:cNvSpPr/>
            <p:nvPr/>
          </p:nvSpPr>
          <p:spPr>
            <a:xfrm>
              <a:off x="3598334" y="1444620"/>
              <a:ext cx="6256866" cy="276999"/>
            </a:xfrm>
            <a:prstGeom prst="rect">
              <a:avLst/>
            </a:prstGeom>
          </p:spPr>
          <p:txBody>
            <a:bodyPr wrap="square" lIns="0" tIns="0" rIns="0" bIns="0">
              <a:spAutoFit/>
            </a:bodyPr>
            <a:lstStyle/>
            <a:p>
              <a:r>
                <a:rPr lang="en-US" b="1" dirty="0"/>
                <a:t>Background</a:t>
              </a:r>
            </a:p>
          </p:txBody>
        </p:sp>
        <p:sp>
          <p:nvSpPr>
            <p:cNvPr id="15" name="Rectangle 14">
              <a:extLst>
                <a:ext uri="{FF2B5EF4-FFF2-40B4-BE49-F238E27FC236}">
                  <a16:creationId xmlns:a16="http://schemas.microsoft.com/office/drawing/2014/main" id="{D32777AB-7A62-44C4-AEE4-30CFE3C51AD4}"/>
                </a:ext>
              </a:extLst>
            </p:cNvPr>
            <p:cNvSpPr/>
            <p:nvPr/>
          </p:nvSpPr>
          <p:spPr>
            <a:xfrm>
              <a:off x="3765145" y="1738902"/>
              <a:ext cx="6579005" cy="441542"/>
            </a:xfrm>
            <a:prstGeom prst="rect">
              <a:avLst/>
            </a:prstGeom>
          </p:spPr>
          <p:txBody>
            <a:bodyPr wrap="square" lIns="0" tIns="0" rIns="0" bIns="0">
              <a:spAutoFit/>
            </a:bodyPr>
            <a:lstStyle/>
            <a:p>
              <a:r>
                <a:rPr lang="en-US" sz="1400" dirty="0"/>
                <a:t>Context on the business objective</a:t>
              </a:r>
            </a:p>
          </p:txBody>
        </p:sp>
      </p:grpSp>
      <p:grpSp>
        <p:nvGrpSpPr>
          <p:cNvPr id="16" name="Group 15">
            <a:extLst>
              <a:ext uri="{FF2B5EF4-FFF2-40B4-BE49-F238E27FC236}">
                <a16:creationId xmlns:a16="http://schemas.microsoft.com/office/drawing/2014/main" id="{E79E4688-4128-4AF1-ACA3-A4A65B93F37E}"/>
              </a:ext>
            </a:extLst>
          </p:cNvPr>
          <p:cNvGrpSpPr/>
          <p:nvPr/>
        </p:nvGrpSpPr>
        <p:grpSpPr>
          <a:xfrm>
            <a:off x="3722159" y="2499034"/>
            <a:ext cx="1983316" cy="735824"/>
            <a:chOff x="3598334" y="1444620"/>
            <a:chExt cx="6256866" cy="735824"/>
          </a:xfrm>
        </p:grpSpPr>
        <p:sp>
          <p:nvSpPr>
            <p:cNvPr id="17" name="Rectangle 16">
              <a:extLst>
                <a:ext uri="{FF2B5EF4-FFF2-40B4-BE49-F238E27FC236}">
                  <a16:creationId xmlns:a16="http://schemas.microsoft.com/office/drawing/2014/main" id="{CCF05F0B-F462-4432-B8AA-5AB2E309BC19}"/>
                </a:ext>
              </a:extLst>
            </p:cNvPr>
            <p:cNvSpPr/>
            <p:nvPr/>
          </p:nvSpPr>
          <p:spPr>
            <a:xfrm>
              <a:off x="3598334" y="1444620"/>
              <a:ext cx="6256866" cy="276999"/>
            </a:xfrm>
            <a:prstGeom prst="rect">
              <a:avLst/>
            </a:prstGeom>
          </p:spPr>
          <p:txBody>
            <a:bodyPr wrap="square" lIns="0" tIns="0" rIns="0" bIns="0">
              <a:spAutoFit/>
            </a:bodyPr>
            <a:lstStyle/>
            <a:p>
              <a:r>
                <a:rPr lang="en-US" b="1" dirty="0"/>
                <a:t>Business objective</a:t>
              </a:r>
            </a:p>
          </p:txBody>
        </p:sp>
        <p:sp>
          <p:nvSpPr>
            <p:cNvPr id="18" name="Rectangle 17">
              <a:extLst>
                <a:ext uri="{FF2B5EF4-FFF2-40B4-BE49-F238E27FC236}">
                  <a16:creationId xmlns:a16="http://schemas.microsoft.com/office/drawing/2014/main" id="{3D54B8C1-27C2-45C0-AABB-F8AF60EEC776}"/>
                </a:ext>
              </a:extLst>
            </p:cNvPr>
            <p:cNvSpPr/>
            <p:nvPr/>
          </p:nvSpPr>
          <p:spPr>
            <a:xfrm>
              <a:off x="3598334" y="1749557"/>
              <a:ext cx="6256866" cy="430887"/>
            </a:xfrm>
            <a:prstGeom prst="rect">
              <a:avLst/>
            </a:prstGeom>
          </p:spPr>
          <p:txBody>
            <a:bodyPr wrap="square" lIns="0" tIns="0" rIns="0" bIns="0">
              <a:spAutoFit/>
            </a:bodyPr>
            <a:lstStyle/>
            <a:p>
              <a:r>
                <a:rPr lang="en-US" sz="1400" dirty="0"/>
                <a:t>Describe the problem statement</a:t>
              </a:r>
            </a:p>
          </p:txBody>
        </p:sp>
      </p:grpSp>
      <p:grpSp>
        <p:nvGrpSpPr>
          <p:cNvPr id="19" name="Group 18">
            <a:extLst>
              <a:ext uri="{FF2B5EF4-FFF2-40B4-BE49-F238E27FC236}">
                <a16:creationId xmlns:a16="http://schemas.microsoft.com/office/drawing/2014/main" id="{14725DD2-09F0-4710-9692-5C8B10934764}"/>
              </a:ext>
            </a:extLst>
          </p:cNvPr>
          <p:cNvGrpSpPr/>
          <p:nvPr/>
        </p:nvGrpSpPr>
        <p:grpSpPr>
          <a:xfrm>
            <a:off x="3713336" y="5725428"/>
            <a:ext cx="2783416" cy="782888"/>
            <a:chOff x="3598334" y="1397556"/>
            <a:chExt cx="6256866" cy="782888"/>
          </a:xfrm>
        </p:grpSpPr>
        <p:sp>
          <p:nvSpPr>
            <p:cNvPr id="20" name="Rectangle 19">
              <a:extLst>
                <a:ext uri="{FF2B5EF4-FFF2-40B4-BE49-F238E27FC236}">
                  <a16:creationId xmlns:a16="http://schemas.microsoft.com/office/drawing/2014/main" id="{48D1D8C1-34D4-4245-9449-9C073194EF04}"/>
                </a:ext>
              </a:extLst>
            </p:cNvPr>
            <p:cNvSpPr/>
            <p:nvPr/>
          </p:nvSpPr>
          <p:spPr>
            <a:xfrm>
              <a:off x="3598334" y="1397556"/>
              <a:ext cx="6256866" cy="276999"/>
            </a:xfrm>
            <a:prstGeom prst="rect">
              <a:avLst/>
            </a:prstGeom>
          </p:spPr>
          <p:txBody>
            <a:bodyPr wrap="square" lIns="0" tIns="0" rIns="0" bIns="0">
              <a:spAutoFit/>
            </a:bodyPr>
            <a:lstStyle/>
            <a:p>
              <a:r>
                <a:rPr lang="en-US" b="1" dirty="0"/>
                <a:t>Data Exploration</a:t>
              </a:r>
            </a:p>
          </p:txBody>
        </p:sp>
        <p:sp>
          <p:nvSpPr>
            <p:cNvPr id="21" name="Rectangle 20">
              <a:extLst>
                <a:ext uri="{FF2B5EF4-FFF2-40B4-BE49-F238E27FC236}">
                  <a16:creationId xmlns:a16="http://schemas.microsoft.com/office/drawing/2014/main" id="{730B5707-3B0E-41A7-B500-BFE1770AD437}"/>
                </a:ext>
              </a:extLst>
            </p:cNvPr>
            <p:cNvSpPr/>
            <p:nvPr/>
          </p:nvSpPr>
          <p:spPr>
            <a:xfrm>
              <a:off x="3598334" y="1749557"/>
              <a:ext cx="6256866" cy="430887"/>
            </a:xfrm>
            <a:prstGeom prst="rect">
              <a:avLst/>
            </a:prstGeom>
          </p:spPr>
          <p:txBody>
            <a:bodyPr wrap="square" lIns="0" tIns="0" rIns="0" bIns="0">
              <a:spAutoFit/>
            </a:bodyPr>
            <a:lstStyle/>
            <a:p>
              <a:r>
                <a:rPr lang="en-US" sz="1400" dirty="0"/>
                <a:t>High level analysis of the characteristics within the data</a:t>
              </a:r>
            </a:p>
          </p:txBody>
        </p:sp>
      </p:grpSp>
      <p:grpSp>
        <p:nvGrpSpPr>
          <p:cNvPr id="22" name="Group 21">
            <a:extLst>
              <a:ext uri="{FF2B5EF4-FFF2-40B4-BE49-F238E27FC236}">
                <a16:creationId xmlns:a16="http://schemas.microsoft.com/office/drawing/2014/main" id="{390E2A87-06A0-4232-A5FD-791B47A5ED57}"/>
              </a:ext>
            </a:extLst>
          </p:cNvPr>
          <p:cNvGrpSpPr/>
          <p:nvPr/>
        </p:nvGrpSpPr>
        <p:grpSpPr>
          <a:xfrm>
            <a:off x="8112466" y="2297129"/>
            <a:ext cx="2384398" cy="875167"/>
            <a:chOff x="4280600" y="3533397"/>
            <a:chExt cx="6284692" cy="875167"/>
          </a:xfrm>
        </p:grpSpPr>
        <p:sp>
          <p:nvSpPr>
            <p:cNvPr id="23" name="Rectangle 22">
              <a:extLst>
                <a:ext uri="{FF2B5EF4-FFF2-40B4-BE49-F238E27FC236}">
                  <a16:creationId xmlns:a16="http://schemas.microsoft.com/office/drawing/2014/main" id="{BE12DC1F-BB91-405F-BA6E-EAF7A46AABAB}"/>
                </a:ext>
              </a:extLst>
            </p:cNvPr>
            <p:cNvSpPr/>
            <p:nvPr/>
          </p:nvSpPr>
          <p:spPr>
            <a:xfrm>
              <a:off x="4308426" y="3533397"/>
              <a:ext cx="6256866" cy="276999"/>
            </a:xfrm>
            <a:prstGeom prst="rect">
              <a:avLst/>
            </a:prstGeom>
          </p:spPr>
          <p:txBody>
            <a:bodyPr wrap="square" lIns="0" tIns="0" rIns="0" bIns="0">
              <a:spAutoFit/>
            </a:bodyPr>
            <a:lstStyle/>
            <a:p>
              <a:r>
                <a:rPr lang="en-US" b="1" dirty="0"/>
                <a:t>Preprocessing</a:t>
              </a:r>
            </a:p>
          </p:txBody>
        </p:sp>
        <p:sp>
          <p:nvSpPr>
            <p:cNvPr id="24" name="Rectangle 23">
              <a:extLst>
                <a:ext uri="{FF2B5EF4-FFF2-40B4-BE49-F238E27FC236}">
                  <a16:creationId xmlns:a16="http://schemas.microsoft.com/office/drawing/2014/main" id="{21CE46DD-39EF-41DE-BA2C-347E1F433F3B}"/>
                </a:ext>
              </a:extLst>
            </p:cNvPr>
            <p:cNvSpPr/>
            <p:nvPr/>
          </p:nvSpPr>
          <p:spPr>
            <a:xfrm>
              <a:off x="4280600" y="3977677"/>
              <a:ext cx="6256866" cy="430887"/>
            </a:xfrm>
            <a:prstGeom prst="rect">
              <a:avLst/>
            </a:prstGeom>
          </p:spPr>
          <p:txBody>
            <a:bodyPr wrap="square" lIns="0" tIns="0" rIns="0" bIns="0">
              <a:spAutoFit/>
            </a:bodyPr>
            <a:lstStyle/>
            <a:p>
              <a:r>
                <a:rPr lang="en-US" sz="1400" dirty="0"/>
                <a:t>Cleaning the data, Imputation of the data</a:t>
              </a:r>
            </a:p>
          </p:txBody>
        </p:sp>
      </p:grpSp>
      <p:sp>
        <p:nvSpPr>
          <p:cNvPr id="36" name="Rectangle 35">
            <a:extLst>
              <a:ext uri="{FF2B5EF4-FFF2-40B4-BE49-F238E27FC236}">
                <a16:creationId xmlns:a16="http://schemas.microsoft.com/office/drawing/2014/main" id="{997349B2-788B-4988-92C7-C366C9E0C2B6}"/>
              </a:ext>
            </a:extLst>
          </p:cNvPr>
          <p:cNvSpPr/>
          <p:nvPr/>
        </p:nvSpPr>
        <p:spPr>
          <a:xfrm>
            <a:off x="6867148" y="1186142"/>
            <a:ext cx="914400" cy="914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dirty="0">
                <a:latin typeface="+mj-lt"/>
              </a:rPr>
              <a:t>06</a:t>
            </a:r>
          </a:p>
        </p:txBody>
      </p:sp>
      <p:sp>
        <p:nvSpPr>
          <p:cNvPr id="37" name="Rectangle 36">
            <a:extLst>
              <a:ext uri="{FF2B5EF4-FFF2-40B4-BE49-F238E27FC236}">
                <a16:creationId xmlns:a16="http://schemas.microsoft.com/office/drawing/2014/main" id="{229EF517-9B65-4425-A41B-AC7AA5DA3D7F}"/>
              </a:ext>
            </a:extLst>
          </p:cNvPr>
          <p:cNvSpPr/>
          <p:nvPr/>
        </p:nvSpPr>
        <p:spPr>
          <a:xfrm>
            <a:off x="6886622" y="3638640"/>
            <a:ext cx="914400" cy="914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dirty="0">
                <a:latin typeface="+mj-lt"/>
              </a:rPr>
              <a:t>08</a:t>
            </a:r>
          </a:p>
        </p:txBody>
      </p:sp>
      <p:grpSp>
        <p:nvGrpSpPr>
          <p:cNvPr id="40" name="Group 39">
            <a:extLst>
              <a:ext uri="{FF2B5EF4-FFF2-40B4-BE49-F238E27FC236}">
                <a16:creationId xmlns:a16="http://schemas.microsoft.com/office/drawing/2014/main" id="{6FD55CA2-805F-42DC-8B9E-64B90DDFCF4B}"/>
              </a:ext>
            </a:extLst>
          </p:cNvPr>
          <p:cNvGrpSpPr/>
          <p:nvPr/>
        </p:nvGrpSpPr>
        <p:grpSpPr>
          <a:xfrm>
            <a:off x="8134790" y="1136092"/>
            <a:ext cx="2681816" cy="1011731"/>
            <a:chOff x="3759115" y="-675159"/>
            <a:chExt cx="6745816" cy="1011731"/>
          </a:xfrm>
        </p:grpSpPr>
        <p:sp>
          <p:nvSpPr>
            <p:cNvPr id="41" name="Rectangle 40">
              <a:extLst>
                <a:ext uri="{FF2B5EF4-FFF2-40B4-BE49-F238E27FC236}">
                  <a16:creationId xmlns:a16="http://schemas.microsoft.com/office/drawing/2014/main" id="{370FE743-FD34-4354-A822-FD0A30A361DD}"/>
                </a:ext>
              </a:extLst>
            </p:cNvPr>
            <p:cNvSpPr/>
            <p:nvPr/>
          </p:nvSpPr>
          <p:spPr>
            <a:xfrm>
              <a:off x="4003591" y="-675159"/>
              <a:ext cx="6256867" cy="276999"/>
            </a:xfrm>
            <a:prstGeom prst="rect">
              <a:avLst/>
            </a:prstGeom>
          </p:spPr>
          <p:txBody>
            <a:bodyPr wrap="square" lIns="0" tIns="0" rIns="0" bIns="0">
              <a:spAutoFit/>
            </a:bodyPr>
            <a:lstStyle/>
            <a:p>
              <a:r>
                <a:rPr lang="en-US" b="1" dirty="0"/>
                <a:t>Statistical Analysis</a:t>
              </a:r>
            </a:p>
          </p:txBody>
        </p:sp>
        <p:sp>
          <p:nvSpPr>
            <p:cNvPr id="42" name="Rectangle 41">
              <a:extLst>
                <a:ext uri="{FF2B5EF4-FFF2-40B4-BE49-F238E27FC236}">
                  <a16:creationId xmlns:a16="http://schemas.microsoft.com/office/drawing/2014/main" id="{94C4DD40-007B-4F92-84D0-378C47D2A2EA}"/>
                </a:ext>
              </a:extLst>
            </p:cNvPr>
            <p:cNvSpPr/>
            <p:nvPr/>
          </p:nvSpPr>
          <p:spPr>
            <a:xfrm>
              <a:off x="3759115" y="-94315"/>
              <a:ext cx="6745816" cy="430887"/>
            </a:xfrm>
            <a:prstGeom prst="rect">
              <a:avLst/>
            </a:prstGeom>
          </p:spPr>
          <p:txBody>
            <a:bodyPr wrap="square" lIns="0" tIns="0" rIns="0" bIns="0">
              <a:spAutoFit/>
            </a:bodyPr>
            <a:lstStyle/>
            <a:p>
              <a:r>
                <a:rPr lang="en-US" sz="1400" dirty="0"/>
                <a:t>Identify and analyze potential trends between the features </a:t>
              </a:r>
            </a:p>
          </p:txBody>
        </p:sp>
      </p:grpSp>
      <p:grpSp>
        <p:nvGrpSpPr>
          <p:cNvPr id="43" name="Group 42">
            <a:extLst>
              <a:ext uri="{FF2B5EF4-FFF2-40B4-BE49-F238E27FC236}">
                <a16:creationId xmlns:a16="http://schemas.microsoft.com/office/drawing/2014/main" id="{A7EF641B-FAE7-4976-8804-741C85FFE571}"/>
              </a:ext>
            </a:extLst>
          </p:cNvPr>
          <p:cNvGrpSpPr/>
          <p:nvPr/>
        </p:nvGrpSpPr>
        <p:grpSpPr>
          <a:xfrm>
            <a:off x="8123023" y="3554314"/>
            <a:ext cx="1983316" cy="1440518"/>
            <a:chOff x="3999902" y="2181501"/>
            <a:chExt cx="6256866" cy="870896"/>
          </a:xfrm>
        </p:grpSpPr>
        <p:sp>
          <p:nvSpPr>
            <p:cNvPr id="44" name="Rectangle 43">
              <a:extLst>
                <a:ext uri="{FF2B5EF4-FFF2-40B4-BE49-F238E27FC236}">
                  <a16:creationId xmlns:a16="http://schemas.microsoft.com/office/drawing/2014/main" id="{738CAA26-D74C-42AD-B993-89790A2D5A8E}"/>
                </a:ext>
              </a:extLst>
            </p:cNvPr>
            <p:cNvSpPr/>
            <p:nvPr/>
          </p:nvSpPr>
          <p:spPr>
            <a:xfrm>
              <a:off x="3999902" y="2181501"/>
              <a:ext cx="6256866" cy="357552"/>
            </a:xfrm>
            <a:prstGeom prst="rect">
              <a:avLst/>
            </a:prstGeom>
          </p:spPr>
          <p:txBody>
            <a:bodyPr wrap="square" lIns="0" tIns="0" rIns="0" bIns="0">
              <a:spAutoFit/>
            </a:bodyPr>
            <a:lstStyle/>
            <a:p>
              <a:r>
                <a:rPr lang="en-US" b="1" dirty="0"/>
                <a:t>Classification and  Applying techniques </a:t>
              </a:r>
            </a:p>
          </p:txBody>
        </p:sp>
        <p:sp>
          <p:nvSpPr>
            <p:cNvPr id="45" name="Rectangle 44">
              <a:extLst>
                <a:ext uri="{FF2B5EF4-FFF2-40B4-BE49-F238E27FC236}">
                  <a16:creationId xmlns:a16="http://schemas.microsoft.com/office/drawing/2014/main" id="{E2FCA2E3-B634-4404-AEDA-7C0F9AF4977E}"/>
                </a:ext>
              </a:extLst>
            </p:cNvPr>
            <p:cNvSpPr/>
            <p:nvPr/>
          </p:nvSpPr>
          <p:spPr>
            <a:xfrm>
              <a:off x="3999902" y="2635253"/>
              <a:ext cx="6256866" cy="417144"/>
            </a:xfrm>
            <a:prstGeom prst="rect">
              <a:avLst/>
            </a:prstGeom>
          </p:spPr>
          <p:txBody>
            <a:bodyPr wrap="square" lIns="0" tIns="0" rIns="0" bIns="0">
              <a:spAutoFit/>
            </a:bodyPr>
            <a:lstStyle/>
            <a:p>
              <a:r>
                <a:rPr lang="en-US" sz="1400" dirty="0"/>
                <a:t>Logistic regression, SVM, Naïve Bayes, cross validation</a:t>
              </a:r>
            </a:p>
          </p:txBody>
        </p:sp>
      </p:grpSp>
      <p:sp>
        <p:nvSpPr>
          <p:cNvPr id="52" name="Rectangle 51">
            <a:extLst>
              <a:ext uri="{FF2B5EF4-FFF2-40B4-BE49-F238E27FC236}">
                <a16:creationId xmlns:a16="http://schemas.microsoft.com/office/drawing/2014/main" id="{5695E36F-338D-4CFE-8AD9-F911730D4713}"/>
              </a:ext>
            </a:extLst>
          </p:cNvPr>
          <p:cNvSpPr/>
          <p:nvPr/>
        </p:nvSpPr>
        <p:spPr>
          <a:xfrm>
            <a:off x="6969130" y="5620229"/>
            <a:ext cx="914400" cy="91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dirty="0">
                <a:latin typeface="+mj-lt"/>
              </a:rPr>
              <a:t>09</a:t>
            </a:r>
          </a:p>
        </p:txBody>
      </p:sp>
      <p:grpSp>
        <p:nvGrpSpPr>
          <p:cNvPr id="53" name="Group 52">
            <a:extLst>
              <a:ext uri="{FF2B5EF4-FFF2-40B4-BE49-F238E27FC236}">
                <a16:creationId xmlns:a16="http://schemas.microsoft.com/office/drawing/2014/main" id="{05D2004A-68E8-4BC7-A6F0-2CB260C90364}"/>
              </a:ext>
            </a:extLst>
          </p:cNvPr>
          <p:cNvGrpSpPr/>
          <p:nvPr/>
        </p:nvGrpSpPr>
        <p:grpSpPr>
          <a:xfrm>
            <a:off x="7883530" y="4236719"/>
            <a:ext cx="2358706" cy="1660509"/>
            <a:chOff x="3598334" y="1749557"/>
            <a:chExt cx="7441128" cy="1660509"/>
          </a:xfrm>
        </p:grpSpPr>
        <p:sp>
          <p:nvSpPr>
            <p:cNvPr id="54" name="Rectangle 53">
              <a:extLst>
                <a:ext uri="{FF2B5EF4-FFF2-40B4-BE49-F238E27FC236}">
                  <a16:creationId xmlns:a16="http://schemas.microsoft.com/office/drawing/2014/main" id="{B593B2E4-6C82-4EC9-8F73-FC680B0B464B}"/>
                </a:ext>
              </a:extLst>
            </p:cNvPr>
            <p:cNvSpPr/>
            <p:nvPr/>
          </p:nvSpPr>
          <p:spPr>
            <a:xfrm>
              <a:off x="4782596" y="3133067"/>
              <a:ext cx="6256866" cy="276999"/>
            </a:xfrm>
            <a:prstGeom prst="rect">
              <a:avLst/>
            </a:prstGeom>
          </p:spPr>
          <p:txBody>
            <a:bodyPr wrap="square" lIns="0" tIns="0" rIns="0" bIns="0">
              <a:spAutoFit/>
            </a:bodyPr>
            <a:lstStyle/>
            <a:p>
              <a:r>
                <a:rPr lang="en-US" b="1" dirty="0"/>
                <a:t>Summary</a:t>
              </a:r>
            </a:p>
          </p:txBody>
        </p:sp>
        <p:sp>
          <p:nvSpPr>
            <p:cNvPr id="55" name="Rectangle 54">
              <a:extLst>
                <a:ext uri="{FF2B5EF4-FFF2-40B4-BE49-F238E27FC236}">
                  <a16:creationId xmlns:a16="http://schemas.microsoft.com/office/drawing/2014/main" id="{389E54C1-6671-45DC-9FE8-E91BB6BADB33}"/>
                </a:ext>
              </a:extLst>
            </p:cNvPr>
            <p:cNvSpPr/>
            <p:nvPr/>
          </p:nvSpPr>
          <p:spPr>
            <a:xfrm>
              <a:off x="3598334" y="1749557"/>
              <a:ext cx="6256866" cy="215444"/>
            </a:xfrm>
            <a:prstGeom prst="rect">
              <a:avLst/>
            </a:prstGeom>
          </p:spPr>
          <p:txBody>
            <a:bodyPr wrap="square" lIns="0" tIns="0" rIns="0" bIns="0">
              <a:spAutoFit/>
            </a:bodyPr>
            <a:lstStyle/>
            <a:p>
              <a:endParaRPr lang="en-US" sz="1400" dirty="0"/>
            </a:p>
          </p:txBody>
        </p:sp>
      </p:grpSp>
      <p:sp>
        <p:nvSpPr>
          <p:cNvPr id="32" name="Rectangle 31">
            <a:extLst>
              <a:ext uri="{FF2B5EF4-FFF2-40B4-BE49-F238E27FC236}">
                <a16:creationId xmlns:a16="http://schemas.microsoft.com/office/drawing/2014/main" id="{7281ACB1-75A5-49A7-A5E0-16A1567192F5}"/>
              </a:ext>
            </a:extLst>
          </p:cNvPr>
          <p:cNvSpPr/>
          <p:nvPr/>
        </p:nvSpPr>
        <p:spPr>
          <a:xfrm>
            <a:off x="2460625" y="3686950"/>
            <a:ext cx="914400" cy="914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dirty="0">
                <a:latin typeface="+mj-lt"/>
              </a:rPr>
              <a:t>03</a:t>
            </a:r>
          </a:p>
        </p:txBody>
      </p:sp>
      <p:grpSp>
        <p:nvGrpSpPr>
          <p:cNvPr id="33" name="Group 32">
            <a:extLst>
              <a:ext uri="{FF2B5EF4-FFF2-40B4-BE49-F238E27FC236}">
                <a16:creationId xmlns:a16="http://schemas.microsoft.com/office/drawing/2014/main" id="{C08D2994-FED2-4F84-BAF4-AB3855D3F1A3}"/>
              </a:ext>
            </a:extLst>
          </p:cNvPr>
          <p:cNvGrpSpPr/>
          <p:nvPr/>
        </p:nvGrpSpPr>
        <p:grpSpPr>
          <a:xfrm>
            <a:off x="3659589" y="3714056"/>
            <a:ext cx="2037063" cy="1542985"/>
            <a:chOff x="3428776" y="1444620"/>
            <a:chExt cx="6426424" cy="1542985"/>
          </a:xfrm>
        </p:grpSpPr>
        <p:sp>
          <p:nvSpPr>
            <p:cNvPr id="34" name="Rectangle 33">
              <a:extLst>
                <a:ext uri="{FF2B5EF4-FFF2-40B4-BE49-F238E27FC236}">
                  <a16:creationId xmlns:a16="http://schemas.microsoft.com/office/drawing/2014/main" id="{3FCA82CE-383E-45CE-A225-CC686F1A6D93}"/>
                </a:ext>
              </a:extLst>
            </p:cNvPr>
            <p:cNvSpPr/>
            <p:nvPr/>
          </p:nvSpPr>
          <p:spPr>
            <a:xfrm>
              <a:off x="3598334" y="1444620"/>
              <a:ext cx="6256866" cy="276999"/>
            </a:xfrm>
            <a:prstGeom prst="rect">
              <a:avLst/>
            </a:prstGeom>
          </p:spPr>
          <p:txBody>
            <a:bodyPr wrap="square" lIns="0" tIns="0" rIns="0" bIns="0">
              <a:spAutoFit/>
            </a:bodyPr>
            <a:lstStyle/>
            <a:p>
              <a:r>
                <a:rPr lang="en-US" b="1" dirty="0"/>
                <a:t>Data Pipeline</a:t>
              </a:r>
            </a:p>
          </p:txBody>
        </p:sp>
        <p:sp>
          <p:nvSpPr>
            <p:cNvPr id="35" name="Rectangle 34">
              <a:extLst>
                <a:ext uri="{FF2B5EF4-FFF2-40B4-BE49-F238E27FC236}">
                  <a16:creationId xmlns:a16="http://schemas.microsoft.com/office/drawing/2014/main" id="{284EDC0B-0518-404F-8CF8-FDE6F2055ED4}"/>
                </a:ext>
              </a:extLst>
            </p:cNvPr>
            <p:cNvSpPr/>
            <p:nvPr/>
          </p:nvSpPr>
          <p:spPr>
            <a:xfrm>
              <a:off x="3598334" y="1749557"/>
              <a:ext cx="6256866" cy="430887"/>
            </a:xfrm>
            <a:prstGeom prst="rect">
              <a:avLst/>
            </a:prstGeom>
          </p:spPr>
          <p:txBody>
            <a:bodyPr wrap="square" lIns="0" tIns="0" rIns="0" bIns="0">
              <a:spAutoFit/>
            </a:bodyPr>
            <a:lstStyle/>
            <a:p>
              <a:r>
                <a:rPr lang="en-US" sz="1400" dirty="0"/>
                <a:t>Describes the wrangling and transformation of data</a:t>
              </a:r>
            </a:p>
          </p:txBody>
        </p:sp>
        <p:sp>
          <p:nvSpPr>
            <p:cNvPr id="46" name="Rectangle 45">
              <a:extLst>
                <a:ext uri="{FF2B5EF4-FFF2-40B4-BE49-F238E27FC236}">
                  <a16:creationId xmlns:a16="http://schemas.microsoft.com/office/drawing/2014/main" id="{004BF7C9-2E38-4B37-93B5-9D18166A9115}"/>
                </a:ext>
              </a:extLst>
            </p:cNvPr>
            <p:cNvSpPr/>
            <p:nvPr/>
          </p:nvSpPr>
          <p:spPr>
            <a:xfrm>
              <a:off x="3428776" y="2772161"/>
              <a:ext cx="6256866" cy="215444"/>
            </a:xfrm>
            <a:prstGeom prst="rect">
              <a:avLst/>
            </a:prstGeom>
          </p:spPr>
          <p:txBody>
            <a:bodyPr wrap="square" lIns="0" tIns="0" rIns="0" bIns="0">
              <a:spAutoFit/>
            </a:bodyPr>
            <a:lstStyle/>
            <a:p>
              <a:r>
                <a:rPr lang="en-US" sz="1400" dirty="0"/>
                <a:t>Information on the dataset</a:t>
              </a:r>
            </a:p>
          </p:txBody>
        </p:sp>
      </p:grpSp>
      <p:sp>
        <p:nvSpPr>
          <p:cNvPr id="38" name="Rectangle 37">
            <a:extLst>
              <a:ext uri="{FF2B5EF4-FFF2-40B4-BE49-F238E27FC236}">
                <a16:creationId xmlns:a16="http://schemas.microsoft.com/office/drawing/2014/main" id="{0312DC50-6B16-4D1F-AE9B-F0C7DEB2A943}"/>
              </a:ext>
            </a:extLst>
          </p:cNvPr>
          <p:cNvSpPr/>
          <p:nvPr/>
        </p:nvSpPr>
        <p:spPr>
          <a:xfrm>
            <a:off x="2460625" y="4654549"/>
            <a:ext cx="914400" cy="84306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dirty="0">
                <a:latin typeface="+mj-lt"/>
              </a:rPr>
              <a:t>04</a:t>
            </a:r>
          </a:p>
        </p:txBody>
      </p:sp>
      <p:sp>
        <p:nvSpPr>
          <p:cNvPr id="39" name="Rectangle 38">
            <a:extLst>
              <a:ext uri="{FF2B5EF4-FFF2-40B4-BE49-F238E27FC236}">
                <a16:creationId xmlns:a16="http://schemas.microsoft.com/office/drawing/2014/main" id="{B2B936C8-5E2B-4409-A629-7A619C4C5BFD}"/>
              </a:ext>
            </a:extLst>
          </p:cNvPr>
          <p:cNvSpPr/>
          <p:nvPr/>
        </p:nvSpPr>
        <p:spPr>
          <a:xfrm>
            <a:off x="3760839" y="4719742"/>
            <a:ext cx="1983316" cy="276999"/>
          </a:xfrm>
          <a:prstGeom prst="rect">
            <a:avLst/>
          </a:prstGeom>
        </p:spPr>
        <p:txBody>
          <a:bodyPr wrap="square" lIns="0" tIns="0" rIns="0" bIns="0">
            <a:spAutoFit/>
          </a:bodyPr>
          <a:lstStyle/>
          <a:p>
            <a:r>
              <a:rPr lang="en-US" b="1" dirty="0"/>
              <a:t>Dataset </a:t>
            </a:r>
          </a:p>
        </p:txBody>
      </p:sp>
      <p:sp>
        <p:nvSpPr>
          <p:cNvPr id="48" name="Rectangle 47">
            <a:extLst>
              <a:ext uri="{FF2B5EF4-FFF2-40B4-BE49-F238E27FC236}">
                <a16:creationId xmlns:a16="http://schemas.microsoft.com/office/drawing/2014/main" id="{0BFAEC2E-D8B0-4B8F-8234-930931C2847F}"/>
              </a:ext>
            </a:extLst>
          </p:cNvPr>
          <p:cNvSpPr/>
          <p:nvPr/>
        </p:nvSpPr>
        <p:spPr>
          <a:xfrm>
            <a:off x="8231982" y="5938930"/>
            <a:ext cx="2373841" cy="430887"/>
          </a:xfrm>
          <a:prstGeom prst="rect">
            <a:avLst/>
          </a:prstGeom>
        </p:spPr>
        <p:txBody>
          <a:bodyPr wrap="square" lIns="0" tIns="0" rIns="0" bIns="0">
            <a:spAutoFit/>
          </a:bodyPr>
          <a:lstStyle/>
          <a:p>
            <a:r>
              <a:rPr lang="en-US" sz="1400" dirty="0"/>
              <a:t>Conclusion,  Limitation and </a:t>
            </a:r>
          </a:p>
          <a:p>
            <a:r>
              <a:rPr lang="en-US" sz="1400" dirty="0"/>
              <a:t>Next steps.</a:t>
            </a:r>
          </a:p>
        </p:txBody>
      </p:sp>
    </p:spTree>
    <p:extLst>
      <p:ext uri="{BB962C8B-B14F-4D97-AF65-F5344CB8AC3E}">
        <p14:creationId xmlns:p14="http://schemas.microsoft.com/office/powerpoint/2010/main" val="10296779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526FF6-93C0-4668-ABD6-DCA4644EF04B}"/>
              </a:ext>
            </a:extLst>
          </p:cNvPr>
          <p:cNvGraphicFramePr>
            <a:graphicFrameLocks noChangeAspect="1"/>
          </p:cNvGraphicFramePr>
          <p:nvPr>
            <p:custDataLst>
              <p:tags r:id="rId1"/>
            </p:custDataLst>
            <p:extLst>
              <p:ext uri="{D42A27DB-BD31-4B8C-83A1-F6EECF244321}">
                <p14:modId xmlns:p14="http://schemas.microsoft.com/office/powerpoint/2010/main" val="4252015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C19A566D-18C1-4C6E-9C31-C3ACFBB7A3B5}"/>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600" b="1" dirty="0">
              <a:latin typeface="Calibri" panose="020F0502020204030204" pitchFamily="34" charset="0"/>
              <a:ea typeface="+mj-ea"/>
              <a:cs typeface="+mj-cs"/>
              <a:sym typeface="Calibri" panose="020F0502020204030204" pitchFamily="34" charset="0"/>
            </a:endParaRPr>
          </a:p>
        </p:txBody>
      </p:sp>
      <p:sp>
        <p:nvSpPr>
          <p:cNvPr id="8" name="Title 7">
            <a:extLst>
              <a:ext uri="{FF2B5EF4-FFF2-40B4-BE49-F238E27FC236}">
                <a16:creationId xmlns:a16="http://schemas.microsoft.com/office/drawing/2014/main" id="{B62A1B46-EE91-4D85-9559-A03F29371123}"/>
              </a:ext>
            </a:extLst>
          </p:cNvPr>
          <p:cNvSpPr>
            <a:spLocks noGrp="1"/>
          </p:cNvSpPr>
          <p:nvPr>
            <p:ph type="title"/>
          </p:nvPr>
        </p:nvSpPr>
        <p:spPr>
          <a:xfrm>
            <a:off x="609600" y="365126"/>
            <a:ext cx="10972800" cy="775612"/>
          </a:xfrm>
        </p:spPr>
        <p:txBody>
          <a:bodyPr/>
          <a:lstStyle/>
          <a:p>
            <a:r>
              <a:rPr lang="en-US" dirty="0"/>
              <a:t>Background	</a:t>
            </a:r>
          </a:p>
        </p:txBody>
      </p:sp>
      <p:sp>
        <p:nvSpPr>
          <p:cNvPr id="25" name="Rectangle: Rounded Corners 24">
            <a:extLst>
              <a:ext uri="{FF2B5EF4-FFF2-40B4-BE49-F238E27FC236}">
                <a16:creationId xmlns:a16="http://schemas.microsoft.com/office/drawing/2014/main" id="{494E6301-EB23-4685-88EB-C44A54F0F7DD}"/>
              </a:ext>
            </a:extLst>
          </p:cNvPr>
          <p:cNvSpPr/>
          <p:nvPr/>
        </p:nvSpPr>
        <p:spPr>
          <a:xfrm>
            <a:off x="6222999" y="147594"/>
            <a:ext cx="4590128" cy="5207491"/>
          </a:xfrm>
          <a:prstGeom prst="roundRect">
            <a:avLst>
              <a:gd name="adj" fmla="val 6764"/>
            </a:avLst>
          </a:prstGeom>
          <a:gradFill>
            <a:gsLst>
              <a:gs pos="0">
                <a:schemeClr val="accent1"/>
              </a:gs>
              <a:gs pos="100000">
                <a:schemeClr val="accent2"/>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8" name="TextBox 50">
            <a:extLst>
              <a:ext uri="{FF2B5EF4-FFF2-40B4-BE49-F238E27FC236}">
                <a16:creationId xmlns:a16="http://schemas.microsoft.com/office/drawing/2014/main" id="{52083644-4C45-46F8-8A1B-166DD8A45EA2}"/>
              </a:ext>
            </a:extLst>
          </p:cNvPr>
          <p:cNvSpPr txBox="1"/>
          <p:nvPr/>
        </p:nvSpPr>
        <p:spPr>
          <a:xfrm>
            <a:off x="620778" y="2621161"/>
            <a:ext cx="1762638" cy="3077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dirty="0"/>
              <a:t>Context </a:t>
            </a:r>
          </a:p>
        </p:txBody>
      </p:sp>
      <p:sp>
        <p:nvSpPr>
          <p:cNvPr id="69" name="TextBox 48">
            <a:extLst>
              <a:ext uri="{FF2B5EF4-FFF2-40B4-BE49-F238E27FC236}">
                <a16:creationId xmlns:a16="http://schemas.microsoft.com/office/drawing/2014/main" id="{088A9550-F038-4522-B957-33963EABE961}"/>
              </a:ext>
            </a:extLst>
          </p:cNvPr>
          <p:cNvSpPr txBox="1"/>
          <p:nvPr/>
        </p:nvSpPr>
        <p:spPr>
          <a:xfrm>
            <a:off x="620776" y="3104257"/>
            <a:ext cx="3759495" cy="4462760"/>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dirty="0"/>
              <a:t>Stroke occurs when the blood supply to the part of your brain is interrupted or reduced.</a:t>
            </a:r>
          </a:p>
          <a:p>
            <a:pPr marL="285750" indent="-285750">
              <a:buFont typeface="Arial" panose="020B0604020202020204" pitchFamily="34" charset="0"/>
              <a:buChar char="•"/>
            </a:pPr>
            <a:r>
              <a:rPr lang="en-US" dirty="0"/>
              <a:t>This prevents the brain tissue from getting oxygen and nutrients.</a:t>
            </a:r>
          </a:p>
          <a:p>
            <a:pPr marL="285750" indent="-285750">
              <a:buFont typeface="Arial" panose="020B0604020202020204" pitchFamily="34" charset="0"/>
              <a:buChar char="•"/>
            </a:pPr>
            <a:r>
              <a:rPr lang="en-US" dirty="0"/>
              <a:t>Brain cells then begin to die in a matter of minute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A stroke is a medical emergency, and an early treatment is crucial as it can reduce brain damage and other complications.</a:t>
            </a:r>
          </a:p>
          <a:p>
            <a:endParaRPr lang="en-US" dirty="0"/>
          </a:p>
          <a:p>
            <a:endParaRPr lang="en-US" sz="1400" dirty="0"/>
          </a:p>
          <a:p>
            <a:endParaRPr lang="en-US" sz="1400" dirty="0"/>
          </a:p>
          <a:p>
            <a:endParaRPr lang="en-US" sz="1400" dirty="0"/>
          </a:p>
          <a:p>
            <a:endParaRPr lang="en-US" sz="1400" dirty="0"/>
          </a:p>
        </p:txBody>
      </p:sp>
      <p:sp>
        <p:nvSpPr>
          <p:cNvPr id="81" name="Freeform 23">
            <a:extLst>
              <a:ext uri="{FF2B5EF4-FFF2-40B4-BE49-F238E27FC236}">
                <a16:creationId xmlns:a16="http://schemas.microsoft.com/office/drawing/2014/main" id="{00561965-09F3-4742-8DEB-4E17691D8AF9}"/>
              </a:ext>
            </a:extLst>
          </p:cNvPr>
          <p:cNvSpPr>
            <a:spLocks noEditPoints="1"/>
          </p:cNvSpPr>
          <p:nvPr/>
        </p:nvSpPr>
        <p:spPr bwMode="auto">
          <a:xfrm>
            <a:off x="620777" y="1680431"/>
            <a:ext cx="703198" cy="706295"/>
          </a:xfrm>
          <a:custGeom>
            <a:avLst/>
            <a:gdLst>
              <a:gd name="T0" fmla="*/ 92 w 96"/>
              <a:gd name="T1" fmla="*/ 26 h 96"/>
              <a:gd name="T2" fmla="*/ 68 w 96"/>
              <a:gd name="T3" fmla="*/ 26 h 96"/>
              <a:gd name="T4" fmla="*/ 64 w 96"/>
              <a:gd name="T5" fmla="*/ 38 h 96"/>
              <a:gd name="T6" fmla="*/ 40 w 96"/>
              <a:gd name="T7" fmla="*/ 30 h 96"/>
              <a:gd name="T8" fmla="*/ 36 w 96"/>
              <a:gd name="T9" fmla="*/ 14 h 96"/>
              <a:gd name="T10" fmla="*/ 20 w 96"/>
              <a:gd name="T11" fmla="*/ 2 h 96"/>
              <a:gd name="T12" fmla="*/ 16 w 96"/>
              <a:gd name="T13" fmla="*/ 12 h 96"/>
              <a:gd name="T14" fmla="*/ 4 w 96"/>
              <a:gd name="T15" fmla="*/ 28 h 96"/>
              <a:gd name="T16" fmla="*/ 0 w 96"/>
              <a:gd name="T17" fmla="*/ 94 h 96"/>
              <a:gd name="T18" fmla="*/ 12 w 96"/>
              <a:gd name="T19" fmla="*/ 86 h 96"/>
              <a:gd name="T20" fmla="*/ 24 w 96"/>
              <a:gd name="T21" fmla="*/ 86 h 96"/>
              <a:gd name="T22" fmla="*/ 76 w 96"/>
              <a:gd name="T23" fmla="*/ 86 h 96"/>
              <a:gd name="T24" fmla="*/ 88 w 96"/>
              <a:gd name="T25" fmla="*/ 86 h 96"/>
              <a:gd name="T26" fmla="*/ 96 w 96"/>
              <a:gd name="T27" fmla="*/ 94 h 96"/>
              <a:gd name="T28" fmla="*/ 14 w 96"/>
              <a:gd name="T29" fmla="*/ 20 h 96"/>
              <a:gd name="T30" fmla="*/ 26 w 96"/>
              <a:gd name="T31" fmla="*/ 24 h 96"/>
              <a:gd name="T32" fmla="*/ 14 w 96"/>
              <a:gd name="T33" fmla="*/ 20 h 96"/>
              <a:gd name="T34" fmla="*/ 8 w 96"/>
              <a:gd name="T35" fmla="*/ 78 h 96"/>
              <a:gd name="T36" fmla="*/ 32 w 96"/>
              <a:gd name="T37" fmla="*/ 78 h 96"/>
              <a:gd name="T38" fmla="*/ 10 w 96"/>
              <a:gd name="T39" fmla="*/ 72 h 96"/>
              <a:gd name="T40" fmla="*/ 30 w 96"/>
              <a:gd name="T41" fmla="*/ 68 h 96"/>
              <a:gd name="T42" fmla="*/ 30 w 96"/>
              <a:gd name="T43" fmla="*/ 64 h 96"/>
              <a:gd name="T44" fmla="*/ 10 w 96"/>
              <a:gd name="T45" fmla="*/ 60 h 96"/>
              <a:gd name="T46" fmla="*/ 30 w 96"/>
              <a:gd name="T47" fmla="*/ 64 h 96"/>
              <a:gd name="T48" fmla="*/ 8 w 96"/>
              <a:gd name="T49" fmla="*/ 54 h 96"/>
              <a:gd name="T50" fmla="*/ 32 w 96"/>
              <a:gd name="T51" fmla="*/ 54 h 96"/>
              <a:gd name="T52" fmla="*/ 10 w 96"/>
              <a:gd name="T53" fmla="*/ 48 h 96"/>
              <a:gd name="T54" fmla="*/ 30 w 96"/>
              <a:gd name="T55" fmla="*/ 44 h 96"/>
              <a:gd name="T56" fmla="*/ 30 w 96"/>
              <a:gd name="T57" fmla="*/ 40 h 96"/>
              <a:gd name="T58" fmla="*/ 10 w 96"/>
              <a:gd name="T59" fmla="*/ 36 h 96"/>
              <a:gd name="T60" fmla="*/ 30 w 96"/>
              <a:gd name="T61" fmla="*/ 40 h 96"/>
              <a:gd name="T62" fmla="*/ 44 w 96"/>
              <a:gd name="T63" fmla="*/ 78 h 96"/>
              <a:gd name="T64" fmla="*/ 60 w 96"/>
              <a:gd name="T65" fmla="*/ 78 h 96"/>
              <a:gd name="T66" fmla="*/ 46 w 96"/>
              <a:gd name="T67" fmla="*/ 72 h 96"/>
              <a:gd name="T68" fmla="*/ 58 w 96"/>
              <a:gd name="T69" fmla="*/ 68 h 96"/>
              <a:gd name="T70" fmla="*/ 58 w 96"/>
              <a:gd name="T71" fmla="*/ 64 h 96"/>
              <a:gd name="T72" fmla="*/ 46 w 96"/>
              <a:gd name="T73" fmla="*/ 60 h 96"/>
              <a:gd name="T74" fmla="*/ 58 w 96"/>
              <a:gd name="T75" fmla="*/ 64 h 96"/>
              <a:gd name="T76" fmla="*/ 72 w 96"/>
              <a:gd name="T77" fmla="*/ 78 h 96"/>
              <a:gd name="T78" fmla="*/ 88 w 96"/>
              <a:gd name="T79" fmla="*/ 78 h 96"/>
              <a:gd name="T80" fmla="*/ 74 w 96"/>
              <a:gd name="T81" fmla="*/ 72 h 96"/>
              <a:gd name="T82" fmla="*/ 86 w 96"/>
              <a:gd name="T83" fmla="*/ 68 h 96"/>
              <a:gd name="T84" fmla="*/ 86 w 96"/>
              <a:gd name="T85" fmla="*/ 64 h 96"/>
              <a:gd name="T86" fmla="*/ 74 w 96"/>
              <a:gd name="T87" fmla="*/ 60 h 96"/>
              <a:gd name="T88" fmla="*/ 86 w 96"/>
              <a:gd name="T89" fmla="*/ 64 h 96"/>
              <a:gd name="T90" fmla="*/ 72 w 96"/>
              <a:gd name="T91" fmla="*/ 54 h 96"/>
              <a:gd name="T92" fmla="*/ 88 w 96"/>
              <a:gd name="T93" fmla="*/ 54 h 96"/>
              <a:gd name="T94" fmla="*/ 74 w 96"/>
              <a:gd name="T95" fmla="*/ 48 h 96"/>
              <a:gd name="T96" fmla="*/ 86 w 96"/>
              <a:gd name="T97"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6" h="96">
                <a:moveTo>
                  <a:pt x="94" y="36"/>
                </a:moveTo>
                <a:cubicBezTo>
                  <a:pt x="92" y="36"/>
                  <a:pt x="92" y="36"/>
                  <a:pt x="92" y="36"/>
                </a:cubicBezTo>
                <a:cubicBezTo>
                  <a:pt x="92" y="26"/>
                  <a:pt x="92" y="26"/>
                  <a:pt x="92" y="26"/>
                </a:cubicBezTo>
                <a:cubicBezTo>
                  <a:pt x="92" y="25"/>
                  <a:pt x="91" y="24"/>
                  <a:pt x="90" y="24"/>
                </a:cubicBezTo>
                <a:cubicBezTo>
                  <a:pt x="70" y="24"/>
                  <a:pt x="70" y="24"/>
                  <a:pt x="70" y="24"/>
                </a:cubicBezTo>
                <a:cubicBezTo>
                  <a:pt x="69" y="24"/>
                  <a:pt x="68" y="25"/>
                  <a:pt x="68" y="26"/>
                </a:cubicBezTo>
                <a:cubicBezTo>
                  <a:pt x="68" y="36"/>
                  <a:pt x="68" y="36"/>
                  <a:pt x="68" y="36"/>
                </a:cubicBezTo>
                <a:cubicBezTo>
                  <a:pt x="66" y="36"/>
                  <a:pt x="66" y="36"/>
                  <a:pt x="66" y="36"/>
                </a:cubicBezTo>
                <a:cubicBezTo>
                  <a:pt x="65" y="36"/>
                  <a:pt x="64" y="37"/>
                  <a:pt x="64" y="38"/>
                </a:cubicBezTo>
                <a:cubicBezTo>
                  <a:pt x="64" y="52"/>
                  <a:pt x="64" y="52"/>
                  <a:pt x="64" y="52"/>
                </a:cubicBezTo>
                <a:cubicBezTo>
                  <a:pt x="40" y="52"/>
                  <a:pt x="40" y="52"/>
                  <a:pt x="40" y="52"/>
                </a:cubicBezTo>
                <a:cubicBezTo>
                  <a:pt x="40" y="30"/>
                  <a:pt x="40" y="30"/>
                  <a:pt x="40" y="30"/>
                </a:cubicBezTo>
                <a:cubicBezTo>
                  <a:pt x="40" y="29"/>
                  <a:pt x="39" y="28"/>
                  <a:pt x="38" y="28"/>
                </a:cubicBezTo>
                <a:cubicBezTo>
                  <a:pt x="36" y="28"/>
                  <a:pt x="36" y="28"/>
                  <a:pt x="36" y="28"/>
                </a:cubicBezTo>
                <a:cubicBezTo>
                  <a:pt x="36" y="14"/>
                  <a:pt x="36" y="14"/>
                  <a:pt x="36" y="14"/>
                </a:cubicBezTo>
                <a:cubicBezTo>
                  <a:pt x="36" y="13"/>
                  <a:pt x="35" y="12"/>
                  <a:pt x="34" y="12"/>
                </a:cubicBezTo>
                <a:cubicBezTo>
                  <a:pt x="20" y="12"/>
                  <a:pt x="20" y="12"/>
                  <a:pt x="20" y="12"/>
                </a:cubicBezTo>
                <a:cubicBezTo>
                  <a:pt x="20" y="2"/>
                  <a:pt x="20" y="2"/>
                  <a:pt x="20" y="2"/>
                </a:cubicBezTo>
                <a:cubicBezTo>
                  <a:pt x="20" y="1"/>
                  <a:pt x="19" y="0"/>
                  <a:pt x="18" y="0"/>
                </a:cubicBezTo>
                <a:cubicBezTo>
                  <a:pt x="17" y="0"/>
                  <a:pt x="16" y="1"/>
                  <a:pt x="16" y="2"/>
                </a:cubicBezTo>
                <a:cubicBezTo>
                  <a:pt x="16" y="12"/>
                  <a:pt x="16" y="12"/>
                  <a:pt x="16" y="12"/>
                </a:cubicBezTo>
                <a:cubicBezTo>
                  <a:pt x="6" y="12"/>
                  <a:pt x="6" y="12"/>
                  <a:pt x="6" y="12"/>
                </a:cubicBezTo>
                <a:cubicBezTo>
                  <a:pt x="5" y="12"/>
                  <a:pt x="4" y="13"/>
                  <a:pt x="4" y="14"/>
                </a:cubicBezTo>
                <a:cubicBezTo>
                  <a:pt x="4" y="28"/>
                  <a:pt x="4" y="28"/>
                  <a:pt x="4" y="28"/>
                </a:cubicBezTo>
                <a:cubicBezTo>
                  <a:pt x="2" y="28"/>
                  <a:pt x="2" y="28"/>
                  <a:pt x="2" y="28"/>
                </a:cubicBezTo>
                <a:cubicBezTo>
                  <a:pt x="1" y="28"/>
                  <a:pt x="0" y="29"/>
                  <a:pt x="0" y="30"/>
                </a:cubicBezTo>
                <a:cubicBezTo>
                  <a:pt x="0" y="94"/>
                  <a:pt x="0" y="94"/>
                  <a:pt x="0" y="94"/>
                </a:cubicBezTo>
                <a:cubicBezTo>
                  <a:pt x="0" y="95"/>
                  <a:pt x="1" y="96"/>
                  <a:pt x="2" y="96"/>
                </a:cubicBezTo>
                <a:cubicBezTo>
                  <a:pt x="12" y="96"/>
                  <a:pt x="12" y="96"/>
                  <a:pt x="12" y="96"/>
                </a:cubicBezTo>
                <a:cubicBezTo>
                  <a:pt x="12" y="86"/>
                  <a:pt x="12" y="86"/>
                  <a:pt x="12" y="86"/>
                </a:cubicBezTo>
                <a:cubicBezTo>
                  <a:pt x="12" y="85"/>
                  <a:pt x="13" y="84"/>
                  <a:pt x="14" y="84"/>
                </a:cubicBezTo>
                <a:cubicBezTo>
                  <a:pt x="22" y="84"/>
                  <a:pt x="22" y="84"/>
                  <a:pt x="22" y="84"/>
                </a:cubicBezTo>
                <a:cubicBezTo>
                  <a:pt x="23" y="84"/>
                  <a:pt x="24" y="85"/>
                  <a:pt x="24" y="86"/>
                </a:cubicBezTo>
                <a:cubicBezTo>
                  <a:pt x="24" y="96"/>
                  <a:pt x="24" y="96"/>
                  <a:pt x="24" y="96"/>
                </a:cubicBezTo>
                <a:cubicBezTo>
                  <a:pt x="76" y="96"/>
                  <a:pt x="76" y="96"/>
                  <a:pt x="76" y="96"/>
                </a:cubicBezTo>
                <a:cubicBezTo>
                  <a:pt x="76" y="86"/>
                  <a:pt x="76" y="86"/>
                  <a:pt x="76" y="86"/>
                </a:cubicBezTo>
                <a:cubicBezTo>
                  <a:pt x="76" y="85"/>
                  <a:pt x="77" y="84"/>
                  <a:pt x="78" y="84"/>
                </a:cubicBezTo>
                <a:cubicBezTo>
                  <a:pt x="86" y="84"/>
                  <a:pt x="86" y="84"/>
                  <a:pt x="86" y="84"/>
                </a:cubicBezTo>
                <a:cubicBezTo>
                  <a:pt x="87" y="84"/>
                  <a:pt x="88" y="85"/>
                  <a:pt x="88" y="86"/>
                </a:cubicBezTo>
                <a:cubicBezTo>
                  <a:pt x="88" y="96"/>
                  <a:pt x="88" y="96"/>
                  <a:pt x="88" y="96"/>
                </a:cubicBezTo>
                <a:cubicBezTo>
                  <a:pt x="94" y="96"/>
                  <a:pt x="94" y="96"/>
                  <a:pt x="94" y="96"/>
                </a:cubicBezTo>
                <a:cubicBezTo>
                  <a:pt x="95" y="96"/>
                  <a:pt x="96" y="95"/>
                  <a:pt x="96" y="94"/>
                </a:cubicBezTo>
                <a:cubicBezTo>
                  <a:pt x="96" y="38"/>
                  <a:pt x="96" y="38"/>
                  <a:pt x="96" y="38"/>
                </a:cubicBezTo>
                <a:cubicBezTo>
                  <a:pt x="96" y="37"/>
                  <a:pt x="95" y="36"/>
                  <a:pt x="94" y="36"/>
                </a:cubicBezTo>
                <a:close/>
                <a:moveTo>
                  <a:pt x="14" y="20"/>
                </a:moveTo>
                <a:cubicBezTo>
                  <a:pt x="26" y="20"/>
                  <a:pt x="26" y="20"/>
                  <a:pt x="26" y="20"/>
                </a:cubicBezTo>
                <a:cubicBezTo>
                  <a:pt x="27" y="20"/>
                  <a:pt x="28" y="21"/>
                  <a:pt x="28" y="22"/>
                </a:cubicBezTo>
                <a:cubicBezTo>
                  <a:pt x="28" y="23"/>
                  <a:pt x="27" y="24"/>
                  <a:pt x="26" y="24"/>
                </a:cubicBezTo>
                <a:cubicBezTo>
                  <a:pt x="14" y="24"/>
                  <a:pt x="14" y="24"/>
                  <a:pt x="14" y="24"/>
                </a:cubicBezTo>
                <a:cubicBezTo>
                  <a:pt x="13" y="24"/>
                  <a:pt x="12" y="23"/>
                  <a:pt x="12" y="22"/>
                </a:cubicBezTo>
                <a:cubicBezTo>
                  <a:pt x="12" y="21"/>
                  <a:pt x="13" y="20"/>
                  <a:pt x="14" y="20"/>
                </a:cubicBezTo>
                <a:close/>
                <a:moveTo>
                  <a:pt x="30" y="80"/>
                </a:moveTo>
                <a:cubicBezTo>
                  <a:pt x="10" y="80"/>
                  <a:pt x="10" y="80"/>
                  <a:pt x="10" y="80"/>
                </a:cubicBezTo>
                <a:cubicBezTo>
                  <a:pt x="9" y="80"/>
                  <a:pt x="8" y="79"/>
                  <a:pt x="8" y="78"/>
                </a:cubicBezTo>
                <a:cubicBezTo>
                  <a:pt x="8" y="77"/>
                  <a:pt x="9" y="76"/>
                  <a:pt x="10" y="76"/>
                </a:cubicBezTo>
                <a:cubicBezTo>
                  <a:pt x="30" y="76"/>
                  <a:pt x="30" y="76"/>
                  <a:pt x="30" y="76"/>
                </a:cubicBezTo>
                <a:cubicBezTo>
                  <a:pt x="31" y="76"/>
                  <a:pt x="32" y="77"/>
                  <a:pt x="32" y="78"/>
                </a:cubicBezTo>
                <a:cubicBezTo>
                  <a:pt x="32" y="79"/>
                  <a:pt x="31" y="80"/>
                  <a:pt x="30" y="80"/>
                </a:cubicBezTo>
                <a:close/>
                <a:moveTo>
                  <a:pt x="30" y="72"/>
                </a:moveTo>
                <a:cubicBezTo>
                  <a:pt x="10" y="72"/>
                  <a:pt x="10" y="72"/>
                  <a:pt x="10" y="72"/>
                </a:cubicBezTo>
                <a:cubicBezTo>
                  <a:pt x="9" y="72"/>
                  <a:pt x="8" y="71"/>
                  <a:pt x="8" y="70"/>
                </a:cubicBezTo>
                <a:cubicBezTo>
                  <a:pt x="8" y="69"/>
                  <a:pt x="9" y="68"/>
                  <a:pt x="10" y="68"/>
                </a:cubicBezTo>
                <a:cubicBezTo>
                  <a:pt x="30" y="68"/>
                  <a:pt x="30" y="68"/>
                  <a:pt x="30" y="68"/>
                </a:cubicBezTo>
                <a:cubicBezTo>
                  <a:pt x="31" y="68"/>
                  <a:pt x="32" y="69"/>
                  <a:pt x="32" y="70"/>
                </a:cubicBezTo>
                <a:cubicBezTo>
                  <a:pt x="32" y="71"/>
                  <a:pt x="31" y="72"/>
                  <a:pt x="30" y="72"/>
                </a:cubicBezTo>
                <a:close/>
                <a:moveTo>
                  <a:pt x="30" y="64"/>
                </a:moveTo>
                <a:cubicBezTo>
                  <a:pt x="10" y="64"/>
                  <a:pt x="10" y="64"/>
                  <a:pt x="10" y="64"/>
                </a:cubicBezTo>
                <a:cubicBezTo>
                  <a:pt x="9" y="64"/>
                  <a:pt x="8" y="63"/>
                  <a:pt x="8" y="62"/>
                </a:cubicBezTo>
                <a:cubicBezTo>
                  <a:pt x="8" y="61"/>
                  <a:pt x="9" y="60"/>
                  <a:pt x="10" y="60"/>
                </a:cubicBezTo>
                <a:cubicBezTo>
                  <a:pt x="30" y="60"/>
                  <a:pt x="30" y="60"/>
                  <a:pt x="30" y="60"/>
                </a:cubicBezTo>
                <a:cubicBezTo>
                  <a:pt x="31" y="60"/>
                  <a:pt x="32" y="61"/>
                  <a:pt x="32" y="62"/>
                </a:cubicBezTo>
                <a:cubicBezTo>
                  <a:pt x="32" y="63"/>
                  <a:pt x="31" y="64"/>
                  <a:pt x="30" y="64"/>
                </a:cubicBezTo>
                <a:close/>
                <a:moveTo>
                  <a:pt x="30" y="56"/>
                </a:moveTo>
                <a:cubicBezTo>
                  <a:pt x="10" y="56"/>
                  <a:pt x="10" y="56"/>
                  <a:pt x="10" y="56"/>
                </a:cubicBezTo>
                <a:cubicBezTo>
                  <a:pt x="9" y="56"/>
                  <a:pt x="8" y="55"/>
                  <a:pt x="8" y="54"/>
                </a:cubicBezTo>
                <a:cubicBezTo>
                  <a:pt x="8" y="53"/>
                  <a:pt x="9" y="52"/>
                  <a:pt x="10" y="52"/>
                </a:cubicBezTo>
                <a:cubicBezTo>
                  <a:pt x="30" y="52"/>
                  <a:pt x="30" y="52"/>
                  <a:pt x="30" y="52"/>
                </a:cubicBezTo>
                <a:cubicBezTo>
                  <a:pt x="31" y="52"/>
                  <a:pt x="32" y="53"/>
                  <a:pt x="32" y="54"/>
                </a:cubicBezTo>
                <a:cubicBezTo>
                  <a:pt x="32" y="55"/>
                  <a:pt x="31" y="56"/>
                  <a:pt x="30" y="56"/>
                </a:cubicBezTo>
                <a:close/>
                <a:moveTo>
                  <a:pt x="30" y="48"/>
                </a:moveTo>
                <a:cubicBezTo>
                  <a:pt x="10" y="48"/>
                  <a:pt x="10" y="48"/>
                  <a:pt x="10" y="48"/>
                </a:cubicBezTo>
                <a:cubicBezTo>
                  <a:pt x="9" y="48"/>
                  <a:pt x="8" y="47"/>
                  <a:pt x="8" y="46"/>
                </a:cubicBezTo>
                <a:cubicBezTo>
                  <a:pt x="8" y="45"/>
                  <a:pt x="9" y="44"/>
                  <a:pt x="10" y="44"/>
                </a:cubicBezTo>
                <a:cubicBezTo>
                  <a:pt x="30" y="44"/>
                  <a:pt x="30" y="44"/>
                  <a:pt x="30" y="44"/>
                </a:cubicBezTo>
                <a:cubicBezTo>
                  <a:pt x="31" y="44"/>
                  <a:pt x="32" y="45"/>
                  <a:pt x="32" y="46"/>
                </a:cubicBezTo>
                <a:cubicBezTo>
                  <a:pt x="32" y="47"/>
                  <a:pt x="31" y="48"/>
                  <a:pt x="30" y="48"/>
                </a:cubicBezTo>
                <a:close/>
                <a:moveTo>
                  <a:pt x="30" y="40"/>
                </a:moveTo>
                <a:cubicBezTo>
                  <a:pt x="10" y="40"/>
                  <a:pt x="10" y="40"/>
                  <a:pt x="10" y="40"/>
                </a:cubicBezTo>
                <a:cubicBezTo>
                  <a:pt x="9" y="40"/>
                  <a:pt x="8" y="39"/>
                  <a:pt x="8" y="38"/>
                </a:cubicBezTo>
                <a:cubicBezTo>
                  <a:pt x="8" y="37"/>
                  <a:pt x="9" y="36"/>
                  <a:pt x="10" y="36"/>
                </a:cubicBezTo>
                <a:cubicBezTo>
                  <a:pt x="30" y="36"/>
                  <a:pt x="30" y="36"/>
                  <a:pt x="30" y="36"/>
                </a:cubicBezTo>
                <a:cubicBezTo>
                  <a:pt x="31" y="36"/>
                  <a:pt x="32" y="37"/>
                  <a:pt x="32" y="38"/>
                </a:cubicBezTo>
                <a:cubicBezTo>
                  <a:pt x="32" y="39"/>
                  <a:pt x="31" y="40"/>
                  <a:pt x="30" y="40"/>
                </a:cubicBezTo>
                <a:close/>
                <a:moveTo>
                  <a:pt x="58" y="80"/>
                </a:moveTo>
                <a:cubicBezTo>
                  <a:pt x="46" y="80"/>
                  <a:pt x="46" y="80"/>
                  <a:pt x="46" y="80"/>
                </a:cubicBezTo>
                <a:cubicBezTo>
                  <a:pt x="45" y="80"/>
                  <a:pt x="44" y="79"/>
                  <a:pt x="44" y="78"/>
                </a:cubicBezTo>
                <a:cubicBezTo>
                  <a:pt x="44" y="77"/>
                  <a:pt x="45" y="76"/>
                  <a:pt x="46" y="76"/>
                </a:cubicBezTo>
                <a:cubicBezTo>
                  <a:pt x="58" y="76"/>
                  <a:pt x="58" y="76"/>
                  <a:pt x="58" y="76"/>
                </a:cubicBezTo>
                <a:cubicBezTo>
                  <a:pt x="59" y="76"/>
                  <a:pt x="60" y="77"/>
                  <a:pt x="60" y="78"/>
                </a:cubicBezTo>
                <a:cubicBezTo>
                  <a:pt x="60" y="79"/>
                  <a:pt x="59" y="80"/>
                  <a:pt x="58" y="80"/>
                </a:cubicBezTo>
                <a:close/>
                <a:moveTo>
                  <a:pt x="58" y="72"/>
                </a:moveTo>
                <a:cubicBezTo>
                  <a:pt x="46" y="72"/>
                  <a:pt x="46" y="72"/>
                  <a:pt x="46" y="72"/>
                </a:cubicBezTo>
                <a:cubicBezTo>
                  <a:pt x="45" y="72"/>
                  <a:pt x="44" y="71"/>
                  <a:pt x="44" y="70"/>
                </a:cubicBezTo>
                <a:cubicBezTo>
                  <a:pt x="44" y="69"/>
                  <a:pt x="45" y="68"/>
                  <a:pt x="46" y="68"/>
                </a:cubicBezTo>
                <a:cubicBezTo>
                  <a:pt x="58" y="68"/>
                  <a:pt x="58" y="68"/>
                  <a:pt x="58" y="68"/>
                </a:cubicBezTo>
                <a:cubicBezTo>
                  <a:pt x="59" y="68"/>
                  <a:pt x="60" y="69"/>
                  <a:pt x="60" y="70"/>
                </a:cubicBezTo>
                <a:cubicBezTo>
                  <a:pt x="60" y="71"/>
                  <a:pt x="59" y="72"/>
                  <a:pt x="58" y="72"/>
                </a:cubicBezTo>
                <a:close/>
                <a:moveTo>
                  <a:pt x="58" y="64"/>
                </a:moveTo>
                <a:cubicBezTo>
                  <a:pt x="46" y="64"/>
                  <a:pt x="46" y="64"/>
                  <a:pt x="46" y="64"/>
                </a:cubicBezTo>
                <a:cubicBezTo>
                  <a:pt x="45" y="64"/>
                  <a:pt x="44" y="63"/>
                  <a:pt x="44" y="62"/>
                </a:cubicBezTo>
                <a:cubicBezTo>
                  <a:pt x="44" y="61"/>
                  <a:pt x="45" y="60"/>
                  <a:pt x="46" y="60"/>
                </a:cubicBezTo>
                <a:cubicBezTo>
                  <a:pt x="58" y="60"/>
                  <a:pt x="58" y="60"/>
                  <a:pt x="58" y="60"/>
                </a:cubicBezTo>
                <a:cubicBezTo>
                  <a:pt x="59" y="60"/>
                  <a:pt x="60" y="61"/>
                  <a:pt x="60" y="62"/>
                </a:cubicBezTo>
                <a:cubicBezTo>
                  <a:pt x="60" y="63"/>
                  <a:pt x="59" y="64"/>
                  <a:pt x="58" y="64"/>
                </a:cubicBezTo>
                <a:close/>
                <a:moveTo>
                  <a:pt x="86" y="80"/>
                </a:moveTo>
                <a:cubicBezTo>
                  <a:pt x="74" y="80"/>
                  <a:pt x="74" y="80"/>
                  <a:pt x="74" y="80"/>
                </a:cubicBezTo>
                <a:cubicBezTo>
                  <a:pt x="73" y="80"/>
                  <a:pt x="72" y="79"/>
                  <a:pt x="72" y="78"/>
                </a:cubicBezTo>
                <a:cubicBezTo>
                  <a:pt x="72" y="77"/>
                  <a:pt x="73" y="76"/>
                  <a:pt x="74" y="76"/>
                </a:cubicBezTo>
                <a:cubicBezTo>
                  <a:pt x="86" y="76"/>
                  <a:pt x="86" y="76"/>
                  <a:pt x="86" y="76"/>
                </a:cubicBezTo>
                <a:cubicBezTo>
                  <a:pt x="87" y="76"/>
                  <a:pt x="88" y="77"/>
                  <a:pt x="88" y="78"/>
                </a:cubicBezTo>
                <a:cubicBezTo>
                  <a:pt x="88" y="79"/>
                  <a:pt x="87" y="80"/>
                  <a:pt x="86" y="80"/>
                </a:cubicBezTo>
                <a:close/>
                <a:moveTo>
                  <a:pt x="86" y="72"/>
                </a:moveTo>
                <a:cubicBezTo>
                  <a:pt x="74" y="72"/>
                  <a:pt x="74" y="72"/>
                  <a:pt x="74" y="72"/>
                </a:cubicBezTo>
                <a:cubicBezTo>
                  <a:pt x="73" y="72"/>
                  <a:pt x="72" y="71"/>
                  <a:pt x="72" y="70"/>
                </a:cubicBezTo>
                <a:cubicBezTo>
                  <a:pt x="72" y="69"/>
                  <a:pt x="73" y="68"/>
                  <a:pt x="74" y="68"/>
                </a:cubicBezTo>
                <a:cubicBezTo>
                  <a:pt x="86" y="68"/>
                  <a:pt x="86" y="68"/>
                  <a:pt x="86" y="68"/>
                </a:cubicBezTo>
                <a:cubicBezTo>
                  <a:pt x="87" y="68"/>
                  <a:pt x="88" y="69"/>
                  <a:pt x="88" y="70"/>
                </a:cubicBezTo>
                <a:cubicBezTo>
                  <a:pt x="88" y="71"/>
                  <a:pt x="87" y="72"/>
                  <a:pt x="86" y="72"/>
                </a:cubicBezTo>
                <a:close/>
                <a:moveTo>
                  <a:pt x="86" y="64"/>
                </a:moveTo>
                <a:cubicBezTo>
                  <a:pt x="74" y="64"/>
                  <a:pt x="74" y="64"/>
                  <a:pt x="74" y="64"/>
                </a:cubicBezTo>
                <a:cubicBezTo>
                  <a:pt x="73" y="64"/>
                  <a:pt x="72" y="63"/>
                  <a:pt x="72" y="62"/>
                </a:cubicBezTo>
                <a:cubicBezTo>
                  <a:pt x="72" y="61"/>
                  <a:pt x="73" y="60"/>
                  <a:pt x="74" y="60"/>
                </a:cubicBezTo>
                <a:cubicBezTo>
                  <a:pt x="86" y="60"/>
                  <a:pt x="86" y="60"/>
                  <a:pt x="86" y="60"/>
                </a:cubicBezTo>
                <a:cubicBezTo>
                  <a:pt x="87" y="60"/>
                  <a:pt x="88" y="61"/>
                  <a:pt x="88" y="62"/>
                </a:cubicBezTo>
                <a:cubicBezTo>
                  <a:pt x="88" y="63"/>
                  <a:pt x="87" y="64"/>
                  <a:pt x="86" y="64"/>
                </a:cubicBezTo>
                <a:close/>
                <a:moveTo>
                  <a:pt x="86" y="56"/>
                </a:moveTo>
                <a:cubicBezTo>
                  <a:pt x="74" y="56"/>
                  <a:pt x="74" y="56"/>
                  <a:pt x="74" y="56"/>
                </a:cubicBezTo>
                <a:cubicBezTo>
                  <a:pt x="73" y="56"/>
                  <a:pt x="72" y="55"/>
                  <a:pt x="72" y="54"/>
                </a:cubicBezTo>
                <a:cubicBezTo>
                  <a:pt x="72" y="53"/>
                  <a:pt x="73" y="52"/>
                  <a:pt x="74" y="52"/>
                </a:cubicBezTo>
                <a:cubicBezTo>
                  <a:pt x="86" y="52"/>
                  <a:pt x="86" y="52"/>
                  <a:pt x="86" y="52"/>
                </a:cubicBezTo>
                <a:cubicBezTo>
                  <a:pt x="87" y="52"/>
                  <a:pt x="88" y="53"/>
                  <a:pt x="88" y="54"/>
                </a:cubicBezTo>
                <a:cubicBezTo>
                  <a:pt x="88" y="55"/>
                  <a:pt x="87" y="56"/>
                  <a:pt x="86" y="56"/>
                </a:cubicBezTo>
                <a:close/>
                <a:moveTo>
                  <a:pt x="86" y="48"/>
                </a:moveTo>
                <a:cubicBezTo>
                  <a:pt x="74" y="48"/>
                  <a:pt x="74" y="48"/>
                  <a:pt x="74" y="48"/>
                </a:cubicBezTo>
                <a:cubicBezTo>
                  <a:pt x="73" y="48"/>
                  <a:pt x="72" y="47"/>
                  <a:pt x="72" y="46"/>
                </a:cubicBezTo>
                <a:cubicBezTo>
                  <a:pt x="72" y="45"/>
                  <a:pt x="73" y="44"/>
                  <a:pt x="74" y="44"/>
                </a:cubicBezTo>
                <a:cubicBezTo>
                  <a:pt x="86" y="44"/>
                  <a:pt x="86" y="44"/>
                  <a:pt x="86" y="44"/>
                </a:cubicBezTo>
                <a:cubicBezTo>
                  <a:pt x="87" y="44"/>
                  <a:pt x="88" y="45"/>
                  <a:pt x="88" y="46"/>
                </a:cubicBezTo>
                <a:cubicBezTo>
                  <a:pt x="88" y="47"/>
                  <a:pt x="87" y="48"/>
                  <a:pt x="86" y="4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id-ID"/>
          </a:p>
        </p:txBody>
      </p:sp>
      <p:sp>
        <p:nvSpPr>
          <p:cNvPr id="82" name="Rectangle 34">
            <a:extLst>
              <a:ext uri="{FF2B5EF4-FFF2-40B4-BE49-F238E27FC236}">
                <a16:creationId xmlns:a16="http://schemas.microsoft.com/office/drawing/2014/main" id="{95E76223-C7DF-44AE-AF5C-211291AB60BA}"/>
              </a:ext>
            </a:extLst>
          </p:cNvPr>
          <p:cNvSpPr/>
          <p:nvPr/>
        </p:nvSpPr>
        <p:spPr>
          <a:xfrm flipH="1" flipV="1">
            <a:off x="0" y="6184228"/>
            <a:ext cx="1952448" cy="673772"/>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9887" h="1207779">
                <a:moveTo>
                  <a:pt x="20077" y="0"/>
                </a:moveTo>
                <a:lnTo>
                  <a:pt x="3499887" y="4553"/>
                </a:lnTo>
                <a:lnTo>
                  <a:pt x="3499887" y="1130405"/>
                </a:lnTo>
                <a:cubicBezTo>
                  <a:pt x="3499588" y="1433772"/>
                  <a:pt x="3468504" y="745115"/>
                  <a:pt x="2205570" y="775263"/>
                </a:cubicBezTo>
                <a:cubicBezTo>
                  <a:pt x="942636" y="805411"/>
                  <a:pt x="-163771" y="183848"/>
                  <a:pt x="20077"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Slide Number Placeholder 26">
            <a:extLst>
              <a:ext uri="{FF2B5EF4-FFF2-40B4-BE49-F238E27FC236}">
                <a16:creationId xmlns:a16="http://schemas.microsoft.com/office/drawing/2014/main" id="{25F1B77B-10A7-4E8F-9055-169B8B309C00}"/>
              </a:ext>
            </a:extLst>
          </p:cNvPr>
          <p:cNvSpPr>
            <a:spLocks noGrp="1"/>
          </p:cNvSpPr>
          <p:nvPr>
            <p:ph type="sldNum" sz="quarter" idx="4"/>
          </p:nvPr>
        </p:nvSpPr>
        <p:spPr/>
        <p:txBody>
          <a:bodyPr/>
          <a:lstStyle/>
          <a:p>
            <a:fld id="{B84D2E29-67F4-44D8-B0E3-F54815B4F123}" type="slidenum">
              <a:rPr lang="en-US" smtClean="0"/>
              <a:pPr/>
              <a:t>4</a:t>
            </a:fld>
            <a:endParaRPr lang="en-US" dirty="0"/>
          </a:p>
        </p:txBody>
      </p:sp>
      <p:pic>
        <p:nvPicPr>
          <p:cNvPr id="3" name="Picture 2">
            <a:extLst>
              <a:ext uri="{FF2B5EF4-FFF2-40B4-BE49-F238E27FC236}">
                <a16:creationId xmlns:a16="http://schemas.microsoft.com/office/drawing/2014/main" id="{1E9279C6-076E-4893-AD00-5D71B617CDBD}"/>
              </a:ext>
            </a:extLst>
          </p:cNvPr>
          <p:cNvPicPr>
            <a:picLocks noChangeAspect="1"/>
          </p:cNvPicPr>
          <p:nvPr/>
        </p:nvPicPr>
        <p:blipFill>
          <a:blip r:embed="rId7"/>
          <a:stretch>
            <a:fillRect/>
          </a:stretch>
        </p:blipFill>
        <p:spPr>
          <a:xfrm>
            <a:off x="6364798" y="256360"/>
            <a:ext cx="4284618" cy="4964569"/>
          </a:xfrm>
          <a:prstGeom prst="rect">
            <a:avLst/>
          </a:prstGeom>
        </p:spPr>
      </p:pic>
      <p:pic>
        <p:nvPicPr>
          <p:cNvPr id="6" name="Picture 5">
            <a:extLst>
              <a:ext uri="{FF2B5EF4-FFF2-40B4-BE49-F238E27FC236}">
                <a16:creationId xmlns:a16="http://schemas.microsoft.com/office/drawing/2014/main" id="{1A181780-BD5B-4AFB-B074-340DAF2FE392}"/>
              </a:ext>
            </a:extLst>
          </p:cNvPr>
          <p:cNvPicPr>
            <a:picLocks noChangeAspect="1"/>
          </p:cNvPicPr>
          <p:nvPr/>
        </p:nvPicPr>
        <p:blipFill>
          <a:blip r:embed="rId8"/>
          <a:stretch>
            <a:fillRect/>
          </a:stretch>
        </p:blipFill>
        <p:spPr>
          <a:xfrm>
            <a:off x="557057" y="1553294"/>
            <a:ext cx="1256815" cy="980208"/>
          </a:xfrm>
          <a:prstGeom prst="rect">
            <a:avLst/>
          </a:prstGeom>
        </p:spPr>
      </p:pic>
    </p:spTree>
    <p:extLst>
      <p:ext uri="{BB962C8B-B14F-4D97-AF65-F5344CB8AC3E}">
        <p14:creationId xmlns:p14="http://schemas.microsoft.com/office/powerpoint/2010/main" val="22395851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526FF6-93C0-4668-ABD6-DCA4644EF0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5" name="Object 4" hidden="1">
                        <a:extLst>
                          <a:ext uri="{FF2B5EF4-FFF2-40B4-BE49-F238E27FC236}">
                            <a16:creationId xmlns:a16="http://schemas.microsoft.com/office/drawing/2014/main" id="{F3526FF6-93C0-4668-ABD6-DCA4644EF0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C19A566D-18C1-4C6E-9C31-C3ACFBB7A3B5}"/>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600" b="1" dirty="0">
              <a:latin typeface="Calibri" panose="020F0502020204030204" pitchFamily="34" charset="0"/>
              <a:ea typeface="+mj-ea"/>
              <a:cs typeface="+mj-cs"/>
              <a:sym typeface="Calibri" panose="020F0502020204030204" pitchFamily="34" charset="0"/>
            </a:endParaRPr>
          </a:p>
        </p:txBody>
      </p:sp>
      <p:sp>
        <p:nvSpPr>
          <p:cNvPr id="8" name="Title 7">
            <a:extLst>
              <a:ext uri="{FF2B5EF4-FFF2-40B4-BE49-F238E27FC236}">
                <a16:creationId xmlns:a16="http://schemas.microsoft.com/office/drawing/2014/main" id="{B62A1B46-EE91-4D85-9559-A03F29371123}"/>
              </a:ext>
            </a:extLst>
          </p:cNvPr>
          <p:cNvSpPr>
            <a:spLocks noGrp="1"/>
          </p:cNvSpPr>
          <p:nvPr>
            <p:ph type="title"/>
          </p:nvPr>
        </p:nvSpPr>
        <p:spPr>
          <a:xfrm>
            <a:off x="609600" y="365126"/>
            <a:ext cx="10972800" cy="775612"/>
          </a:xfrm>
        </p:spPr>
        <p:txBody>
          <a:bodyPr/>
          <a:lstStyle/>
          <a:p>
            <a:r>
              <a:rPr lang="en-US" dirty="0"/>
              <a:t>Background Continued</a:t>
            </a:r>
          </a:p>
        </p:txBody>
      </p:sp>
      <p:sp>
        <p:nvSpPr>
          <p:cNvPr id="25" name="Rectangle: Rounded Corners 24">
            <a:extLst>
              <a:ext uri="{FF2B5EF4-FFF2-40B4-BE49-F238E27FC236}">
                <a16:creationId xmlns:a16="http://schemas.microsoft.com/office/drawing/2014/main" id="{494E6301-EB23-4685-88EB-C44A54F0F7DD}"/>
              </a:ext>
            </a:extLst>
          </p:cNvPr>
          <p:cNvSpPr/>
          <p:nvPr/>
        </p:nvSpPr>
        <p:spPr>
          <a:xfrm>
            <a:off x="7435892" y="365126"/>
            <a:ext cx="4590128" cy="5207491"/>
          </a:xfrm>
          <a:prstGeom prst="roundRect">
            <a:avLst>
              <a:gd name="adj" fmla="val 6764"/>
            </a:avLst>
          </a:prstGeom>
          <a:gradFill>
            <a:gsLst>
              <a:gs pos="0">
                <a:schemeClr val="accent1"/>
              </a:gs>
              <a:gs pos="100000">
                <a:schemeClr val="accent2"/>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8" name="TextBox 50">
            <a:extLst>
              <a:ext uri="{FF2B5EF4-FFF2-40B4-BE49-F238E27FC236}">
                <a16:creationId xmlns:a16="http://schemas.microsoft.com/office/drawing/2014/main" id="{52083644-4C45-46F8-8A1B-166DD8A45EA2}"/>
              </a:ext>
            </a:extLst>
          </p:cNvPr>
          <p:cNvSpPr txBox="1"/>
          <p:nvPr/>
        </p:nvSpPr>
        <p:spPr>
          <a:xfrm>
            <a:off x="620778" y="2621161"/>
            <a:ext cx="1762638" cy="3077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dirty="0"/>
              <a:t>Context</a:t>
            </a:r>
          </a:p>
        </p:txBody>
      </p:sp>
      <p:sp>
        <p:nvSpPr>
          <p:cNvPr id="81" name="Freeform 23">
            <a:extLst>
              <a:ext uri="{FF2B5EF4-FFF2-40B4-BE49-F238E27FC236}">
                <a16:creationId xmlns:a16="http://schemas.microsoft.com/office/drawing/2014/main" id="{00561965-09F3-4742-8DEB-4E17691D8AF9}"/>
              </a:ext>
            </a:extLst>
          </p:cNvPr>
          <p:cNvSpPr>
            <a:spLocks noEditPoints="1"/>
          </p:cNvSpPr>
          <p:nvPr/>
        </p:nvSpPr>
        <p:spPr bwMode="auto">
          <a:xfrm>
            <a:off x="620777" y="1680431"/>
            <a:ext cx="703198" cy="706295"/>
          </a:xfrm>
          <a:custGeom>
            <a:avLst/>
            <a:gdLst>
              <a:gd name="T0" fmla="*/ 92 w 96"/>
              <a:gd name="T1" fmla="*/ 26 h 96"/>
              <a:gd name="T2" fmla="*/ 68 w 96"/>
              <a:gd name="T3" fmla="*/ 26 h 96"/>
              <a:gd name="T4" fmla="*/ 64 w 96"/>
              <a:gd name="T5" fmla="*/ 38 h 96"/>
              <a:gd name="T6" fmla="*/ 40 w 96"/>
              <a:gd name="T7" fmla="*/ 30 h 96"/>
              <a:gd name="T8" fmla="*/ 36 w 96"/>
              <a:gd name="T9" fmla="*/ 14 h 96"/>
              <a:gd name="T10" fmla="*/ 20 w 96"/>
              <a:gd name="T11" fmla="*/ 2 h 96"/>
              <a:gd name="T12" fmla="*/ 16 w 96"/>
              <a:gd name="T13" fmla="*/ 12 h 96"/>
              <a:gd name="T14" fmla="*/ 4 w 96"/>
              <a:gd name="T15" fmla="*/ 28 h 96"/>
              <a:gd name="T16" fmla="*/ 0 w 96"/>
              <a:gd name="T17" fmla="*/ 94 h 96"/>
              <a:gd name="T18" fmla="*/ 12 w 96"/>
              <a:gd name="T19" fmla="*/ 86 h 96"/>
              <a:gd name="T20" fmla="*/ 24 w 96"/>
              <a:gd name="T21" fmla="*/ 86 h 96"/>
              <a:gd name="T22" fmla="*/ 76 w 96"/>
              <a:gd name="T23" fmla="*/ 86 h 96"/>
              <a:gd name="T24" fmla="*/ 88 w 96"/>
              <a:gd name="T25" fmla="*/ 86 h 96"/>
              <a:gd name="T26" fmla="*/ 96 w 96"/>
              <a:gd name="T27" fmla="*/ 94 h 96"/>
              <a:gd name="T28" fmla="*/ 14 w 96"/>
              <a:gd name="T29" fmla="*/ 20 h 96"/>
              <a:gd name="T30" fmla="*/ 26 w 96"/>
              <a:gd name="T31" fmla="*/ 24 h 96"/>
              <a:gd name="T32" fmla="*/ 14 w 96"/>
              <a:gd name="T33" fmla="*/ 20 h 96"/>
              <a:gd name="T34" fmla="*/ 8 w 96"/>
              <a:gd name="T35" fmla="*/ 78 h 96"/>
              <a:gd name="T36" fmla="*/ 32 w 96"/>
              <a:gd name="T37" fmla="*/ 78 h 96"/>
              <a:gd name="T38" fmla="*/ 10 w 96"/>
              <a:gd name="T39" fmla="*/ 72 h 96"/>
              <a:gd name="T40" fmla="*/ 30 w 96"/>
              <a:gd name="T41" fmla="*/ 68 h 96"/>
              <a:gd name="T42" fmla="*/ 30 w 96"/>
              <a:gd name="T43" fmla="*/ 64 h 96"/>
              <a:gd name="T44" fmla="*/ 10 w 96"/>
              <a:gd name="T45" fmla="*/ 60 h 96"/>
              <a:gd name="T46" fmla="*/ 30 w 96"/>
              <a:gd name="T47" fmla="*/ 64 h 96"/>
              <a:gd name="T48" fmla="*/ 8 w 96"/>
              <a:gd name="T49" fmla="*/ 54 h 96"/>
              <a:gd name="T50" fmla="*/ 32 w 96"/>
              <a:gd name="T51" fmla="*/ 54 h 96"/>
              <a:gd name="T52" fmla="*/ 10 w 96"/>
              <a:gd name="T53" fmla="*/ 48 h 96"/>
              <a:gd name="T54" fmla="*/ 30 w 96"/>
              <a:gd name="T55" fmla="*/ 44 h 96"/>
              <a:gd name="T56" fmla="*/ 30 w 96"/>
              <a:gd name="T57" fmla="*/ 40 h 96"/>
              <a:gd name="T58" fmla="*/ 10 w 96"/>
              <a:gd name="T59" fmla="*/ 36 h 96"/>
              <a:gd name="T60" fmla="*/ 30 w 96"/>
              <a:gd name="T61" fmla="*/ 40 h 96"/>
              <a:gd name="T62" fmla="*/ 44 w 96"/>
              <a:gd name="T63" fmla="*/ 78 h 96"/>
              <a:gd name="T64" fmla="*/ 60 w 96"/>
              <a:gd name="T65" fmla="*/ 78 h 96"/>
              <a:gd name="T66" fmla="*/ 46 w 96"/>
              <a:gd name="T67" fmla="*/ 72 h 96"/>
              <a:gd name="T68" fmla="*/ 58 w 96"/>
              <a:gd name="T69" fmla="*/ 68 h 96"/>
              <a:gd name="T70" fmla="*/ 58 w 96"/>
              <a:gd name="T71" fmla="*/ 64 h 96"/>
              <a:gd name="T72" fmla="*/ 46 w 96"/>
              <a:gd name="T73" fmla="*/ 60 h 96"/>
              <a:gd name="T74" fmla="*/ 58 w 96"/>
              <a:gd name="T75" fmla="*/ 64 h 96"/>
              <a:gd name="T76" fmla="*/ 72 w 96"/>
              <a:gd name="T77" fmla="*/ 78 h 96"/>
              <a:gd name="T78" fmla="*/ 88 w 96"/>
              <a:gd name="T79" fmla="*/ 78 h 96"/>
              <a:gd name="T80" fmla="*/ 74 w 96"/>
              <a:gd name="T81" fmla="*/ 72 h 96"/>
              <a:gd name="T82" fmla="*/ 86 w 96"/>
              <a:gd name="T83" fmla="*/ 68 h 96"/>
              <a:gd name="T84" fmla="*/ 86 w 96"/>
              <a:gd name="T85" fmla="*/ 64 h 96"/>
              <a:gd name="T86" fmla="*/ 74 w 96"/>
              <a:gd name="T87" fmla="*/ 60 h 96"/>
              <a:gd name="T88" fmla="*/ 86 w 96"/>
              <a:gd name="T89" fmla="*/ 64 h 96"/>
              <a:gd name="T90" fmla="*/ 72 w 96"/>
              <a:gd name="T91" fmla="*/ 54 h 96"/>
              <a:gd name="T92" fmla="*/ 88 w 96"/>
              <a:gd name="T93" fmla="*/ 54 h 96"/>
              <a:gd name="T94" fmla="*/ 74 w 96"/>
              <a:gd name="T95" fmla="*/ 48 h 96"/>
              <a:gd name="T96" fmla="*/ 86 w 96"/>
              <a:gd name="T97"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6" h="96">
                <a:moveTo>
                  <a:pt x="94" y="36"/>
                </a:moveTo>
                <a:cubicBezTo>
                  <a:pt x="92" y="36"/>
                  <a:pt x="92" y="36"/>
                  <a:pt x="92" y="36"/>
                </a:cubicBezTo>
                <a:cubicBezTo>
                  <a:pt x="92" y="26"/>
                  <a:pt x="92" y="26"/>
                  <a:pt x="92" y="26"/>
                </a:cubicBezTo>
                <a:cubicBezTo>
                  <a:pt x="92" y="25"/>
                  <a:pt x="91" y="24"/>
                  <a:pt x="90" y="24"/>
                </a:cubicBezTo>
                <a:cubicBezTo>
                  <a:pt x="70" y="24"/>
                  <a:pt x="70" y="24"/>
                  <a:pt x="70" y="24"/>
                </a:cubicBezTo>
                <a:cubicBezTo>
                  <a:pt x="69" y="24"/>
                  <a:pt x="68" y="25"/>
                  <a:pt x="68" y="26"/>
                </a:cubicBezTo>
                <a:cubicBezTo>
                  <a:pt x="68" y="36"/>
                  <a:pt x="68" y="36"/>
                  <a:pt x="68" y="36"/>
                </a:cubicBezTo>
                <a:cubicBezTo>
                  <a:pt x="66" y="36"/>
                  <a:pt x="66" y="36"/>
                  <a:pt x="66" y="36"/>
                </a:cubicBezTo>
                <a:cubicBezTo>
                  <a:pt x="65" y="36"/>
                  <a:pt x="64" y="37"/>
                  <a:pt x="64" y="38"/>
                </a:cubicBezTo>
                <a:cubicBezTo>
                  <a:pt x="64" y="52"/>
                  <a:pt x="64" y="52"/>
                  <a:pt x="64" y="52"/>
                </a:cubicBezTo>
                <a:cubicBezTo>
                  <a:pt x="40" y="52"/>
                  <a:pt x="40" y="52"/>
                  <a:pt x="40" y="52"/>
                </a:cubicBezTo>
                <a:cubicBezTo>
                  <a:pt x="40" y="30"/>
                  <a:pt x="40" y="30"/>
                  <a:pt x="40" y="30"/>
                </a:cubicBezTo>
                <a:cubicBezTo>
                  <a:pt x="40" y="29"/>
                  <a:pt x="39" y="28"/>
                  <a:pt x="38" y="28"/>
                </a:cubicBezTo>
                <a:cubicBezTo>
                  <a:pt x="36" y="28"/>
                  <a:pt x="36" y="28"/>
                  <a:pt x="36" y="28"/>
                </a:cubicBezTo>
                <a:cubicBezTo>
                  <a:pt x="36" y="14"/>
                  <a:pt x="36" y="14"/>
                  <a:pt x="36" y="14"/>
                </a:cubicBezTo>
                <a:cubicBezTo>
                  <a:pt x="36" y="13"/>
                  <a:pt x="35" y="12"/>
                  <a:pt x="34" y="12"/>
                </a:cubicBezTo>
                <a:cubicBezTo>
                  <a:pt x="20" y="12"/>
                  <a:pt x="20" y="12"/>
                  <a:pt x="20" y="12"/>
                </a:cubicBezTo>
                <a:cubicBezTo>
                  <a:pt x="20" y="2"/>
                  <a:pt x="20" y="2"/>
                  <a:pt x="20" y="2"/>
                </a:cubicBezTo>
                <a:cubicBezTo>
                  <a:pt x="20" y="1"/>
                  <a:pt x="19" y="0"/>
                  <a:pt x="18" y="0"/>
                </a:cubicBezTo>
                <a:cubicBezTo>
                  <a:pt x="17" y="0"/>
                  <a:pt x="16" y="1"/>
                  <a:pt x="16" y="2"/>
                </a:cubicBezTo>
                <a:cubicBezTo>
                  <a:pt x="16" y="12"/>
                  <a:pt x="16" y="12"/>
                  <a:pt x="16" y="12"/>
                </a:cubicBezTo>
                <a:cubicBezTo>
                  <a:pt x="6" y="12"/>
                  <a:pt x="6" y="12"/>
                  <a:pt x="6" y="12"/>
                </a:cubicBezTo>
                <a:cubicBezTo>
                  <a:pt x="5" y="12"/>
                  <a:pt x="4" y="13"/>
                  <a:pt x="4" y="14"/>
                </a:cubicBezTo>
                <a:cubicBezTo>
                  <a:pt x="4" y="28"/>
                  <a:pt x="4" y="28"/>
                  <a:pt x="4" y="28"/>
                </a:cubicBezTo>
                <a:cubicBezTo>
                  <a:pt x="2" y="28"/>
                  <a:pt x="2" y="28"/>
                  <a:pt x="2" y="28"/>
                </a:cubicBezTo>
                <a:cubicBezTo>
                  <a:pt x="1" y="28"/>
                  <a:pt x="0" y="29"/>
                  <a:pt x="0" y="30"/>
                </a:cubicBezTo>
                <a:cubicBezTo>
                  <a:pt x="0" y="94"/>
                  <a:pt x="0" y="94"/>
                  <a:pt x="0" y="94"/>
                </a:cubicBezTo>
                <a:cubicBezTo>
                  <a:pt x="0" y="95"/>
                  <a:pt x="1" y="96"/>
                  <a:pt x="2" y="96"/>
                </a:cubicBezTo>
                <a:cubicBezTo>
                  <a:pt x="12" y="96"/>
                  <a:pt x="12" y="96"/>
                  <a:pt x="12" y="96"/>
                </a:cubicBezTo>
                <a:cubicBezTo>
                  <a:pt x="12" y="86"/>
                  <a:pt x="12" y="86"/>
                  <a:pt x="12" y="86"/>
                </a:cubicBezTo>
                <a:cubicBezTo>
                  <a:pt x="12" y="85"/>
                  <a:pt x="13" y="84"/>
                  <a:pt x="14" y="84"/>
                </a:cubicBezTo>
                <a:cubicBezTo>
                  <a:pt x="22" y="84"/>
                  <a:pt x="22" y="84"/>
                  <a:pt x="22" y="84"/>
                </a:cubicBezTo>
                <a:cubicBezTo>
                  <a:pt x="23" y="84"/>
                  <a:pt x="24" y="85"/>
                  <a:pt x="24" y="86"/>
                </a:cubicBezTo>
                <a:cubicBezTo>
                  <a:pt x="24" y="96"/>
                  <a:pt x="24" y="96"/>
                  <a:pt x="24" y="96"/>
                </a:cubicBezTo>
                <a:cubicBezTo>
                  <a:pt x="76" y="96"/>
                  <a:pt x="76" y="96"/>
                  <a:pt x="76" y="96"/>
                </a:cubicBezTo>
                <a:cubicBezTo>
                  <a:pt x="76" y="86"/>
                  <a:pt x="76" y="86"/>
                  <a:pt x="76" y="86"/>
                </a:cubicBezTo>
                <a:cubicBezTo>
                  <a:pt x="76" y="85"/>
                  <a:pt x="77" y="84"/>
                  <a:pt x="78" y="84"/>
                </a:cubicBezTo>
                <a:cubicBezTo>
                  <a:pt x="86" y="84"/>
                  <a:pt x="86" y="84"/>
                  <a:pt x="86" y="84"/>
                </a:cubicBezTo>
                <a:cubicBezTo>
                  <a:pt x="87" y="84"/>
                  <a:pt x="88" y="85"/>
                  <a:pt x="88" y="86"/>
                </a:cubicBezTo>
                <a:cubicBezTo>
                  <a:pt x="88" y="96"/>
                  <a:pt x="88" y="96"/>
                  <a:pt x="88" y="96"/>
                </a:cubicBezTo>
                <a:cubicBezTo>
                  <a:pt x="94" y="96"/>
                  <a:pt x="94" y="96"/>
                  <a:pt x="94" y="96"/>
                </a:cubicBezTo>
                <a:cubicBezTo>
                  <a:pt x="95" y="96"/>
                  <a:pt x="96" y="95"/>
                  <a:pt x="96" y="94"/>
                </a:cubicBezTo>
                <a:cubicBezTo>
                  <a:pt x="96" y="38"/>
                  <a:pt x="96" y="38"/>
                  <a:pt x="96" y="38"/>
                </a:cubicBezTo>
                <a:cubicBezTo>
                  <a:pt x="96" y="37"/>
                  <a:pt x="95" y="36"/>
                  <a:pt x="94" y="36"/>
                </a:cubicBezTo>
                <a:close/>
                <a:moveTo>
                  <a:pt x="14" y="20"/>
                </a:moveTo>
                <a:cubicBezTo>
                  <a:pt x="26" y="20"/>
                  <a:pt x="26" y="20"/>
                  <a:pt x="26" y="20"/>
                </a:cubicBezTo>
                <a:cubicBezTo>
                  <a:pt x="27" y="20"/>
                  <a:pt x="28" y="21"/>
                  <a:pt x="28" y="22"/>
                </a:cubicBezTo>
                <a:cubicBezTo>
                  <a:pt x="28" y="23"/>
                  <a:pt x="27" y="24"/>
                  <a:pt x="26" y="24"/>
                </a:cubicBezTo>
                <a:cubicBezTo>
                  <a:pt x="14" y="24"/>
                  <a:pt x="14" y="24"/>
                  <a:pt x="14" y="24"/>
                </a:cubicBezTo>
                <a:cubicBezTo>
                  <a:pt x="13" y="24"/>
                  <a:pt x="12" y="23"/>
                  <a:pt x="12" y="22"/>
                </a:cubicBezTo>
                <a:cubicBezTo>
                  <a:pt x="12" y="21"/>
                  <a:pt x="13" y="20"/>
                  <a:pt x="14" y="20"/>
                </a:cubicBezTo>
                <a:close/>
                <a:moveTo>
                  <a:pt x="30" y="80"/>
                </a:moveTo>
                <a:cubicBezTo>
                  <a:pt x="10" y="80"/>
                  <a:pt x="10" y="80"/>
                  <a:pt x="10" y="80"/>
                </a:cubicBezTo>
                <a:cubicBezTo>
                  <a:pt x="9" y="80"/>
                  <a:pt x="8" y="79"/>
                  <a:pt x="8" y="78"/>
                </a:cubicBezTo>
                <a:cubicBezTo>
                  <a:pt x="8" y="77"/>
                  <a:pt x="9" y="76"/>
                  <a:pt x="10" y="76"/>
                </a:cubicBezTo>
                <a:cubicBezTo>
                  <a:pt x="30" y="76"/>
                  <a:pt x="30" y="76"/>
                  <a:pt x="30" y="76"/>
                </a:cubicBezTo>
                <a:cubicBezTo>
                  <a:pt x="31" y="76"/>
                  <a:pt x="32" y="77"/>
                  <a:pt x="32" y="78"/>
                </a:cubicBezTo>
                <a:cubicBezTo>
                  <a:pt x="32" y="79"/>
                  <a:pt x="31" y="80"/>
                  <a:pt x="30" y="80"/>
                </a:cubicBezTo>
                <a:close/>
                <a:moveTo>
                  <a:pt x="30" y="72"/>
                </a:moveTo>
                <a:cubicBezTo>
                  <a:pt x="10" y="72"/>
                  <a:pt x="10" y="72"/>
                  <a:pt x="10" y="72"/>
                </a:cubicBezTo>
                <a:cubicBezTo>
                  <a:pt x="9" y="72"/>
                  <a:pt x="8" y="71"/>
                  <a:pt x="8" y="70"/>
                </a:cubicBezTo>
                <a:cubicBezTo>
                  <a:pt x="8" y="69"/>
                  <a:pt x="9" y="68"/>
                  <a:pt x="10" y="68"/>
                </a:cubicBezTo>
                <a:cubicBezTo>
                  <a:pt x="30" y="68"/>
                  <a:pt x="30" y="68"/>
                  <a:pt x="30" y="68"/>
                </a:cubicBezTo>
                <a:cubicBezTo>
                  <a:pt x="31" y="68"/>
                  <a:pt x="32" y="69"/>
                  <a:pt x="32" y="70"/>
                </a:cubicBezTo>
                <a:cubicBezTo>
                  <a:pt x="32" y="71"/>
                  <a:pt x="31" y="72"/>
                  <a:pt x="30" y="72"/>
                </a:cubicBezTo>
                <a:close/>
                <a:moveTo>
                  <a:pt x="30" y="64"/>
                </a:moveTo>
                <a:cubicBezTo>
                  <a:pt x="10" y="64"/>
                  <a:pt x="10" y="64"/>
                  <a:pt x="10" y="64"/>
                </a:cubicBezTo>
                <a:cubicBezTo>
                  <a:pt x="9" y="64"/>
                  <a:pt x="8" y="63"/>
                  <a:pt x="8" y="62"/>
                </a:cubicBezTo>
                <a:cubicBezTo>
                  <a:pt x="8" y="61"/>
                  <a:pt x="9" y="60"/>
                  <a:pt x="10" y="60"/>
                </a:cubicBezTo>
                <a:cubicBezTo>
                  <a:pt x="30" y="60"/>
                  <a:pt x="30" y="60"/>
                  <a:pt x="30" y="60"/>
                </a:cubicBezTo>
                <a:cubicBezTo>
                  <a:pt x="31" y="60"/>
                  <a:pt x="32" y="61"/>
                  <a:pt x="32" y="62"/>
                </a:cubicBezTo>
                <a:cubicBezTo>
                  <a:pt x="32" y="63"/>
                  <a:pt x="31" y="64"/>
                  <a:pt x="30" y="64"/>
                </a:cubicBezTo>
                <a:close/>
                <a:moveTo>
                  <a:pt x="30" y="56"/>
                </a:moveTo>
                <a:cubicBezTo>
                  <a:pt x="10" y="56"/>
                  <a:pt x="10" y="56"/>
                  <a:pt x="10" y="56"/>
                </a:cubicBezTo>
                <a:cubicBezTo>
                  <a:pt x="9" y="56"/>
                  <a:pt x="8" y="55"/>
                  <a:pt x="8" y="54"/>
                </a:cubicBezTo>
                <a:cubicBezTo>
                  <a:pt x="8" y="53"/>
                  <a:pt x="9" y="52"/>
                  <a:pt x="10" y="52"/>
                </a:cubicBezTo>
                <a:cubicBezTo>
                  <a:pt x="30" y="52"/>
                  <a:pt x="30" y="52"/>
                  <a:pt x="30" y="52"/>
                </a:cubicBezTo>
                <a:cubicBezTo>
                  <a:pt x="31" y="52"/>
                  <a:pt x="32" y="53"/>
                  <a:pt x="32" y="54"/>
                </a:cubicBezTo>
                <a:cubicBezTo>
                  <a:pt x="32" y="55"/>
                  <a:pt x="31" y="56"/>
                  <a:pt x="30" y="56"/>
                </a:cubicBezTo>
                <a:close/>
                <a:moveTo>
                  <a:pt x="30" y="48"/>
                </a:moveTo>
                <a:cubicBezTo>
                  <a:pt x="10" y="48"/>
                  <a:pt x="10" y="48"/>
                  <a:pt x="10" y="48"/>
                </a:cubicBezTo>
                <a:cubicBezTo>
                  <a:pt x="9" y="48"/>
                  <a:pt x="8" y="47"/>
                  <a:pt x="8" y="46"/>
                </a:cubicBezTo>
                <a:cubicBezTo>
                  <a:pt x="8" y="45"/>
                  <a:pt x="9" y="44"/>
                  <a:pt x="10" y="44"/>
                </a:cubicBezTo>
                <a:cubicBezTo>
                  <a:pt x="30" y="44"/>
                  <a:pt x="30" y="44"/>
                  <a:pt x="30" y="44"/>
                </a:cubicBezTo>
                <a:cubicBezTo>
                  <a:pt x="31" y="44"/>
                  <a:pt x="32" y="45"/>
                  <a:pt x="32" y="46"/>
                </a:cubicBezTo>
                <a:cubicBezTo>
                  <a:pt x="32" y="47"/>
                  <a:pt x="31" y="48"/>
                  <a:pt x="30" y="48"/>
                </a:cubicBezTo>
                <a:close/>
                <a:moveTo>
                  <a:pt x="30" y="40"/>
                </a:moveTo>
                <a:cubicBezTo>
                  <a:pt x="10" y="40"/>
                  <a:pt x="10" y="40"/>
                  <a:pt x="10" y="40"/>
                </a:cubicBezTo>
                <a:cubicBezTo>
                  <a:pt x="9" y="40"/>
                  <a:pt x="8" y="39"/>
                  <a:pt x="8" y="38"/>
                </a:cubicBezTo>
                <a:cubicBezTo>
                  <a:pt x="8" y="37"/>
                  <a:pt x="9" y="36"/>
                  <a:pt x="10" y="36"/>
                </a:cubicBezTo>
                <a:cubicBezTo>
                  <a:pt x="30" y="36"/>
                  <a:pt x="30" y="36"/>
                  <a:pt x="30" y="36"/>
                </a:cubicBezTo>
                <a:cubicBezTo>
                  <a:pt x="31" y="36"/>
                  <a:pt x="32" y="37"/>
                  <a:pt x="32" y="38"/>
                </a:cubicBezTo>
                <a:cubicBezTo>
                  <a:pt x="32" y="39"/>
                  <a:pt x="31" y="40"/>
                  <a:pt x="30" y="40"/>
                </a:cubicBezTo>
                <a:close/>
                <a:moveTo>
                  <a:pt x="58" y="80"/>
                </a:moveTo>
                <a:cubicBezTo>
                  <a:pt x="46" y="80"/>
                  <a:pt x="46" y="80"/>
                  <a:pt x="46" y="80"/>
                </a:cubicBezTo>
                <a:cubicBezTo>
                  <a:pt x="45" y="80"/>
                  <a:pt x="44" y="79"/>
                  <a:pt x="44" y="78"/>
                </a:cubicBezTo>
                <a:cubicBezTo>
                  <a:pt x="44" y="77"/>
                  <a:pt x="45" y="76"/>
                  <a:pt x="46" y="76"/>
                </a:cubicBezTo>
                <a:cubicBezTo>
                  <a:pt x="58" y="76"/>
                  <a:pt x="58" y="76"/>
                  <a:pt x="58" y="76"/>
                </a:cubicBezTo>
                <a:cubicBezTo>
                  <a:pt x="59" y="76"/>
                  <a:pt x="60" y="77"/>
                  <a:pt x="60" y="78"/>
                </a:cubicBezTo>
                <a:cubicBezTo>
                  <a:pt x="60" y="79"/>
                  <a:pt x="59" y="80"/>
                  <a:pt x="58" y="80"/>
                </a:cubicBezTo>
                <a:close/>
                <a:moveTo>
                  <a:pt x="58" y="72"/>
                </a:moveTo>
                <a:cubicBezTo>
                  <a:pt x="46" y="72"/>
                  <a:pt x="46" y="72"/>
                  <a:pt x="46" y="72"/>
                </a:cubicBezTo>
                <a:cubicBezTo>
                  <a:pt x="45" y="72"/>
                  <a:pt x="44" y="71"/>
                  <a:pt x="44" y="70"/>
                </a:cubicBezTo>
                <a:cubicBezTo>
                  <a:pt x="44" y="69"/>
                  <a:pt x="45" y="68"/>
                  <a:pt x="46" y="68"/>
                </a:cubicBezTo>
                <a:cubicBezTo>
                  <a:pt x="58" y="68"/>
                  <a:pt x="58" y="68"/>
                  <a:pt x="58" y="68"/>
                </a:cubicBezTo>
                <a:cubicBezTo>
                  <a:pt x="59" y="68"/>
                  <a:pt x="60" y="69"/>
                  <a:pt x="60" y="70"/>
                </a:cubicBezTo>
                <a:cubicBezTo>
                  <a:pt x="60" y="71"/>
                  <a:pt x="59" y="72"/>
                  <a:pt x="58" y="72"/>
                </a:cubicBezTo>
                <a:close/>
                <a:moveTo>
                  <a:pt x="58" y="64"/>
                </a:moveTo>
                <a:cubicBezTo>
                  <a:pt x="46" y="64"/>
                  <a:pt x="46" y="64"/>
                  <a:pt x="46" y="64"/>
                </a:cubicBezTo>
                <a:cubicBezTo>
                  <a:pt x="45" y="64"/>
                  <a:pt x="44" y="63"/>
                  <a:pt x="44" y="62"/>
                </a:cubicBezTo>
                <a:cubicBezTo>
                  <a:pt x="44" y="61"/>
                  <a:pt x="45" y="60"/>
                  <a:pt x="46" y="60"/>
                </a:cubicBezTo>
                <a:cubicBezTo>
                  <a:pt x="58" y="60"/>
                  <a:pt x="58" y="60"/>
                  <a:pt x="58" y="60"/>
                </a:cubicBezTo>
                <a:cubicBezTo>
                  <a:pt x="59" y="60"/>
                  <a:pt x="60" y="61"/>
                  <a:pt x="60" y="62"/>
                </a:cubicBezTo>
                <a:cubicBezTo>
                  <a:pt x="60" y="63"/>
                  <a:pt x="59" y="64"/>
                  <a:pt x="58" y="64"/>
                </a:cubicBezTo>
                <a:close/>
                <a:moveTo>
                  <a:pt x="86" y="80"/>
                </a:moveTo>
                <a:cubicBezTo>
                  <a:pt x="74" y="80"/>
                  <a:pt x="74" y="80"/>
                  <a:pt x="74" y="80"/>
                </a:cubicBezTo>
                <a:cubicBezTo>
                  <a:pt x="73" y="80"/>
                  <a:pt x="72" y="79"/>
                  <a:pt x="72" y="78"/>
                </a:cubicBezTo>
                <a:cubicBezTo>
                  <a:pt x="72" y="77"/>
                  <a:pt x="73" y="76"/>
                  <a:pt x="74" y="76"/>
                </a:cubicBezTo>
                <a:cubicBezTo>
                  <a:pt x="86" y="76"/>
                  <a:pt x="86" y="76"/>
                  <a:pt x="86" y="76"/>
                </a:cubicBezTo>
                <a:cubicBezTo>
                  <a:pt x="87" y="76"/>
                  <a:pt x="88" y="77"/>
                  <a:pt x="88" y="78"/>
                </a:cubicBezTo>
                <a:cubicBezTo>
                  <a:pt x="88" y="79"/>
                  <a:pt x="87" y="80"/>
                  <a:pt x="86" y="80"/>
                </a:cubicBezTo>
                <a:close/>
                <a:moveTo>
                  <a:pt x="86" y="72"/>
                </a:moveTo>
                <a:cubicBezTo>
                  <a:pt x="74" y="72"/>
                  <a:pt x="74" y="72"/>
                  <a:pt x="74" y="72"/>
                </a:cubicBezTo>
                <a:cubicBezTo>
                  <a:pt x="73" y="72"/>
                  <a:pt x="72" y="71"/>
                  <a:pt x="72" y="70"/>
                </a:cubicBezTo>
                <a:cubicBezTo>
                  <a:pt x="72" y="69"/>
                  <a:pt x="73" y="68"/>
                  <a:pt x="74" y="68"/>
                </a:cubicBezTo>
                <a:cubicBezTo>
                  <a:pt x="86" y="68"/>
                  <a:pt x="86" y="68"/>
                  <a:pt x="86" y="68"/>
                </a:cubicBezTo>
                <a:cubicBezTo>
                  <a:pt x="87" y="68"/>
                  <a:pt x="88" y="69"/>
                  <a:pt x="88" y="70"/>
                </a:cubicBezTo>
                <a:cubicBezTo>
                  <a:pt x="88" y="71"/>
                  <a:pt x="87" y="72"/>
                  <a:pt x="86" y="72"/>
                </a:cubicBezTo>
                <a:close/>
                <a:moveTo>
                  <a:pt x="86" y="64"/>
                </a:moveTo>
                <a:cubicBezTo>
                  <a:pt x="74" y="64"/>
                  <a:pt x="74" y="64"/>
                  <a:pt x="74" y="64"/>
                </a:cubicBezTo>
                <a:cubicBezTo>
                  <a:pt x="73" y="64"/>
                  <a:pt x="72" y="63"/>
                  <a:pt x="72" y="62"/>
                </a:cubicBezTo>
                <a:cubicBezTo>
                  <a:pt x="72" y="61"/>
                  <a:pt x="73" y="60"/>
                  <a:pt x="74" y="60"/>
                </a:cubicBezTo>
                <a:cubicBezTo>
                  <a:pt x="86" y="60"/>
                  <a:pt x="86" y="60"/>
                  <a:pt x="86" y="60"/>
                </a:cubicBezTo>
                <a:cubicBezTo>
                  <a:pt x="87" y="60"/>
                  <a:pt x="88" y="61"/>
                  <a:pt x="88" y="62"/>
                </a:cubicBezTo>
                <a:cubicBezTo>
                  <a:pt x="88" y="63"/>
                  <a:pt x="87" y="64"/>
                  <a:pt x="86" y="64"/>
                </a:cubicBezTo>
                <a:close/>
                <a:moveTo>
                  <a:pt x="86" y="56"/>
                </a:moveTo>
                <a:cubicBezTo>
                  <a:pt x="74" y="56"/>
                  <a:pt x="74" y="56"/>
                  <a:pt x="74" y="56"/>
                </a:cubicBezTo>
                <a:cubicBezTo>
                  <a:pt x="73" y="56"/>
                  <a:pt x="72" y="55"/>
                  <a:pt x="72" y="54"/>
                </a:cubicBezTo>
                <a:cubicBezTo>
                  <a:pt x="72" y="53"/>
                  <a:pt x="73" y="52"/>
                  <a:pt x="74" y="52"/>
                </a:cubicBezTo>
                <a:cubicBezTo>
                  <a:pt x="86" y="52"/>
                  <a:pt x="86" y="52"/>
                  <a:pt x="86" y="52"/>
                </a:cubicBezTo>
                <a:cubicBezTo>
                  <a:pt x="87" y="52"/>
                  <a:pt x="88" y="53"/>
                  <a:pt x="88" y="54"/>
                </a:cubicBezTo>
                <a:cubicBezTo>
                  <a:pt x="88" y="55"/>
                  <a:pt x="87" y="56"/>
                  <a:pt x="86" y="56"/>
                </a:cubicBezTo>
                <a:close/>
                <a:moveTo>
                  <a:pt x="86" y="48"/>
                </a:moveTo>
                <a:cubicBezTo>
                  <a:pt x="74" y="48"/>
                  <a:pt x="74" y="48"/>
                  <a:pt x="74" y="48"/>
                </a:cubicBezTo>
                <a:cubicBezTo>
                  <a:pt x="73" y="48"/>
                  <a:pt x="72" y="47"/>
                  <a:pt x="72" y="46"/>
                </a:cubicBezTo>
                <a:cubicBezTo>
                  <a:pt x="72" y="45"/>
                  <a:pt x="73" y="44"/>
                  <a:pt x="74" y="44"/>
                </a:cubicBezTo>
                <a:cubicBezTo>
                  <a:pt x="86" y="44"/>
                  <a:pt x="86" y="44"/>
                  <a:pt x="86" y="44"/>
                </a:cubicBezTo>
                <a:cubicBezTo>
                  <a:pt x="87" y="44"/>
                  <a:pt x="88" y="45"/>
                  <a:pt x="88" y="46"/>
                </a:cubicBezTo>
                <a:cubicBezTo>
                  <a:pt x="88" y="47"/>
                  <a:pt x="87" y="48"/>
                  <a:pt x="86" y="4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id-ID"/>
          </a:p>
        </p:txBody>
      </p:sp>
      <p:sp>
        <p:nvSpPr>
          <p:cNvPr id="82" name="Rectangle 34">
            <a:extLst>
              <a:ext uri="{FF2B5EF4-FFF2-40B4-BE49-F238E27FC236}">
                <a16:creationId xmlns:a16="http://schemas.microsoft.com/office/drawing/2014/main" id="{95E76223-C7DF-44AE-AF5C-211291AB60BA}"/>
              </a:ext>
            </a:extLst>
          </p:cNvPr>
          <p:cNvSpPr/>
          <p:nvPr/>
        </p:nvSpPr>
        <p:spPr>
          <a:xfrm flipH="1" flipV="1">
            <a:off x="0" y="6184228"/>
            <a:ext cx="1952448" cy="673772"/>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9887" h="1207779">
                <a:moveTo>
                  <a:pt x="20077" y="0"/>
                </a:moveTo>
                <a:lnTo>
                  <a:pt x="3499887" y="4553"/>
                </a:lnTo>
                <a:lnTo>
                  <a:pt x="3499887" y="1130405"/>
                </a:lnTo>
                <a:cubicBezTo>
                  <a:pt x="3499588" y="1433772"/>
                  <a:pt x="3468504" y="745115"/>
                  <a:pt x="2205570" y="775263"/>
                </a:cubicBezTo>
                <a:cubicBezTo>
                  <a:pt x="942636" y="805411"/>
                  <a:pt x="-163771" y="183848"/>
                  <a:pt x="20077"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Slide Number Placeholder 26">
            <a:extLst>
              <a:ext uri="{FF2B5EF4-FFF2-40B4-BE49-F238E27FC236}">
                <a16:creationId xmlns:a16="http://schemas.microsoft.com/office/drawing/2014/main" id="{25F1B77B-10A7-4E8F-9055-169B8B309C00}"/>
              </a:ext>
            </a:extLst>
          </p:cNvPr>
          <p:cNvSpPr>
            <a:spLocks noGrp="1"/>
          </p:cNvSpPr>
          <p:nvPr>
            <p:ph type="sldNum" sz="quarter" idx="4"/>
          </p:nvPr>
        </p:nvSpPr>
        <p:spPr/>
        <p:txBody>
          <a:bodyPr/>
          <a:lstStyle/>
          <a:p>
            <a:fld id="{B84D2E29-67F4-44D8-B0E3-F54815B4F123}" type="slidenum">
              <a:rPr lang="en-US" smtClean="0"/>
              <a:pPr/>
              <a:t>5</a:t>
            </a:fld>
            <a:endParaRPr lang="en-US" dirty="0"/>
          </a:p>
        </p:txBody>
      </p:sp>
      <p:pic>
        <p:nvPicPr>
          <p:cNvPr id="3" name="Picture 2">
            <a:extLst>
              <a:ext uri="{FF2B5EF4-FFF2-40B4-BE49-F238E27FC236}">
                <a16:creationId xmlns:a16="http://schemas.microsoft.com/office/drawing/2014/main" id="{597EAC50-D56B-4E75-81EF-A12FCB815798}"/>
              </a:ext>
            </a:extLst>
          </p:cNvPr>
          <p:cNvPicPr>
            <a:picLocks noChangeAspect="1"/>
          </p:cNvPicPr>
          <p:nvPr/>
        </p:nvPicPr>
        <p:blipFill>
          <a:blip r:embed="rId7"/>
          <a:stretch>
            <a:fillRect/>
          </a:stretch>
        </p:blipFill>
        <p:spPr>
          <a:xfrm>
            <a:off x="398957" y="1505864"/>
            <a:ext cx="1238113" cy="965622"/>
          </a:xfrm>
          <a:prstGeom prst="rect">
            <a:avLst/>
          </a:prstGeom>
        </p:spPr>
      </p:pic>
      <p:pic>
        <p:nvPicPr>
          <p:cNvPr id="6" name="Picture 5">
            <a:extLst>
              <a:ext uri="{FF2B5EF4-FFF2-40B4-BE49-F238E27FC236}">
                <a16:creationId xmlns:a16="http://schemas.microsoft.com/office/drawing/2014/main" id="{AB8360C2-A15D-4923-A8F6-A8266A570C16}"/>
              </a:ext>
            </a:extLst>
          </p:cNvPr>
          <p:cNvPicPr>
            <a:picLocks noChangeAspect="1"/>
          </p:cNvPicPr>
          <p:nvPr/>
        </p:nvPicPr>
        <p:blipFill>
          <a:blip r:embed="rId8"/>
          <a:stretch>
            <a:fillRect/>
          </a:stretch>
        </p:blipFill>
        <p:spPr>
          <a:xfrm>
            <a:off x="7435892" y="365126"/>
            <a:ext cx="4674332" cy="5207491"/>
          </a:xfrm>
          <a:prstGeom prst="rect">
            <a:avLst/>
          </a:prstGeom>
        </p:spPr>
      </p:pic>
      <p:sp>
        <p:nvSpPr>
          <p:cNvPr id="17" name="TextBox 48">
            <a:extLst>
              <a:ext uri="{FF2B5EF4-FFF2-40B4-BE49-F238E27FC236}">
                <a16:creationId xmlns:a16="http://schemas.microsoft.com/office/drawing/2014/main" id="{00761FD8-B883-4DE9-BB91-B82A9C3FDDC2}"/>
              </a:ext>
            </a:extLst>
          </p:cNvPr>
          <p:cNvSpPr txBox="1"/>
          <p:nvPr/>
        </p:nvSpPr>
        <p:spPr>
          <a:xfrm>
            <a:off x="606028" y="3104257"/>
            <a:ext cx="6178230" cy="4462760"/>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dirty="0"/>
              <a:t>Literature review from an article of social science and medicine published in September 1999  suggests that stroke has a negative impact on family members as quality of life deteriorates while taking care of members affected by stroke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According to the World Health Organization stroke is the 2</a:t>
            </a:r>
            <a:r>
              <a:rPr lang="en-US" baseline="30000" dirty="0"/>
              <a:t>nd</a:t>
            </a:r>
            <a:r>
              <a:rPr lang="en-US" dirty="0"/>
              <a:t> leading cause of death globally.</a:t>
            </a:r>
          </a:p>
          <a:p>
            <a:pPr marL="285750" indent="-285750">
              <a:buFont typeface="Arial" panose="020B0604020202020204" pitchFamily="34" charset="0"/>
              <a:buChar char="•"/>
            </a:pPr>
            <a:r>
              <a:rPr lang="en-US" dirty="0"/>
              <a:t>Stroke is responsible for approximately 11% of total deaths</a:t>
            </a:r>
          </a:p>
          <a:p>
            <a:pPr marL="285750" indent="-285750">
              <a:buFont typeface="Arial" panose="020B0604020202020204" pitchFamily="34" charset="0"/>
              <a:buChar char="•"/>
            </a:pPr>
            <a:r>
              <a:rPr lang="en-US" dirty="0"/>
              <a:t>This dataset is used to predict  whether a patient is likely to get stroke based on the input  parameters like gender, age, various diseases and smoking status.</a:t>
            </a:r>
          </a:p>
          <a:p>
            <a:pPr marL="285750" indent="-285750">
              <a:buFont typeface="Arial" panose="020B0604020202020204" pitchFamily="34" charset="0"/>
              <a:buChar char="•"/>
            </a:pPr>
            <a:r>
              <a:rPr lang="en-US" dirty="0"/>
              <a:t>Each row in data provides relevant information about patient.</a:t>
            </a:r>
          </a:p>
          <a:p>
            <a:endParaRPr lang="en-US" dirty="0"/>
          </a:p>
          <a:p>
            <a:endParaRPr lang="en-US" sz="1400" dirty="0"/>
          </a:p>
          <a:p>
            <a:endParaRPr lang="en-US" sz="1400" dirty="0"/>
          </a:p>
          <a:p>
            <a:endParaRPr lang="en-US" sz="1400" dirty="0"/>
          </a:p>
          <a:p>
            <a:endParaRPr lang="en-US" sz="1400" dirty="0"/>
          </a:p>
        </p:txBody>
      </p:sp>
    </p:spTree>
    <p:extLst>
      <p:ext uri="{BB962C8B-B14F-4D97-AF65-F5344CB8AC3E}">
        <p14:creationId xmlns:p14="http://schemas.microsoft.com/office/powerpoint/2010/main" val="30585886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526FF6-93C0-4668-ABD6-DCA4644EF0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5" name="Object 4" hidden="1">
                        <a:extLst>
                          <a:ext uri="{FF2B5EF4-FFF2-40B4-BE49-F238E27FC236}">
                            <a16:creationId xmlns:a16="http://schemas.microsoft.com/office/drawing/2014/main" id="{F3526FF6-93C0-4668-ABD6-DCA4644EF0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C19A566D-18C1-4C6E-9C31-C3ACFBB7A3B5}"/>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600" b="1" dirty="0">
              <a:latin typeface="Calibri" panose="020F0502020204030204" pitchFamily="34" charset="0"/>
              <a:ea typeface="+mj-ea"/>
              <a:cs typeface="+mj-cs"/>
              <a:sym typeface="Calibri" panose="020F0502020204030204" pitchFamily="34" charset="0"/>
            </a:endParaRPr>
          </a:p>
        </p:txBody>
      </p:sp>
      <p:sp>
        <p:nvSpPr>
          <p:cNvPr id="8" name="Title 7">
            <a:extLst>
              <a:ext uri="{FF2B5EF4-FFF2-40B4-BE49-F238E27FC236}">
                <a16:creationId xmlns:a16="http://schemas.microsoft.com/office/drawing/2014/main" id="{B62A1B46-EE91-4D85-9559-A03F29371123}"/>
              </a:ext>
            </a:extLst>
          </p:cNvPr>
          <p:cNvSpPr>
            <a:spLocks noGrp="1"/>
          </p:cNvSpPr>
          <p:nvPr>
            <p:ph type="title"/>
          </p:nvPr>
        </p:nvSpPr>
        <p:spPr>
          <a:xfrm>
            <a:off x="609600" y="365126"/>
            <a:ext cx="10972800" cy="775612"/>
          </a:xfrm>
        </p:spPr>
        <p:txBody>
          <a:bodyPr/>
          <a:lstStyle/>
          <a:p>
            <a:r>
              <a:rPr lang="en-US" dirty="0"/>
              <a:t>Business Question</a:t>
            </a:r>
          </a:p>
        </p:txBody>
      </p:sp>
      <p:sp>
        <p:nvSpPr>
          <p:cNvPr id="82" name="Rectangle 34">
            <a:extLst>
              <a:ext uri="{FF2B5EF4-FFF2-40B4-BE49-F238E27FC236}">
                <a16:creationId xmlns:a16="http://schemas.microsoft.com/office/drawing/2014/main" id="{95E76223-C7DF-44AE-AF5C-211291AB60BA}"/>
              </a:ext>
            </a:extLst>
          </p:cNvPr>
          <p:cNvSpPr/>
          <p:nvPr/>
        </p:nvSpPr>
        <p:spPr>
          <a:xfrm flipH="1" flipV="1">
            <a:off x="-2" y="3598819"/>
            <a:ext cx="11487152" cy="3303426"/>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 name="connsiteX0" fmla="*/ 0 w 3479810"/>
              <a:gd name="connsiteY0" fmla="*/ 0 h 1207779"/>
              <a:gd name="connsiteX1" fmla="*/ 3479810 w 3479810"/>
              <a:gd name="connsiteY1" fmla="*/ 4553 h 1207779"/>
              <a:gd name="connsiteX2" fmla="*/ 3479810 w 3479810"/>
              <a:gd name="connsiteY2" fmla="*/ 1130405 h 1207779"/>
              <a:gd name="connsiteX3" fmla="*/ 2185493 w 3479810"/>
              <a:gd name="connsiteY3" fmla="*/ 775263 h 1207779"/>
              <a:gd name="connsiteX4" fmla="*/ 0 w 3479810"/>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9810" h="1207779">
                <a:moveTo>
                  <a:pt x="0" y="0"/>
                </a:moveTo>
                <a:lnTo>
                  <a:pt x="3479810" y="4553"/>
                </a:lnTo>
                <a:lnTo>
                  <a:pt x="3479810" y="1130405"/>
                </a:lnTo>
                <a:cubicBezTo>
                  <a:pt x="3479511" y="1433772"/>
                  <a:pt x="3448427" y="745115"/>
                  <a:pt x="2185493" y="775263"/>
                </a:cubicBezTo>
                <a:cubicBezTo>
                  <a:pt x="922559" y="805411"/>
                  <a:pt x="59199" y="93304"/>
                  <a:pt x="0" y="0"/>
                </a:cubicBezTo>
                <a:close/>
              </a:path>
            </a:pathLst>
          </a:custGeom>
          <a:gradFill>
            <a:gsLst>
              <a:gs pos="21000">
                <a:schemeClr val="accent1">
                  <a:alpha val="10000"/>
                </a:schemeClr>
              </a:gs>
              <a:gs pos="100000">
                <a:schemeClr val="accent2">
                  <a:alpha val="1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Slide Number Placeholder 6">
            <a:extLst>
              <a:ext uri="{FF2B5EF4-FFF2-40B4-BE49-F238E27FC236}">
                <a16:creationId xmlns:a16="http://schemas.microsoft.com/office/drawing/2014/main" id="{C78FDFDA-BEF5-4DEF-B80F-DA46ED605B0F}"/>
              </a:ext>
            </a:extLst>
          </p:cNvPr>
          <p:cNvSpPr>
            <a:spLocks noGrp="1"/>
          </p:cNvSpPr>
          <p:nvPr>
            <p:ph type="sldNum" sz="quarter" idx="4"/>
          </p:nvPr>
        </p:nvSpPr>
        <p:spPr/>
        <p:txBody>
          <a:bodyPr/>
          <a:lstStyle/>
          <a:p>
            <a:fld id="{B84D2E29-67F4-44D8-B0E3-F54815B4F123}" type="slidenum">
              <a:rPr lang="en-US" smtClean="0"/>
              <a:pPr/>
              <a:t>6</a:t>
            </a:fld>
            <a:endParaRPr lang="en-US" dirty="0"/>
          </a:p>
        </p:txBody>
      </p:sp>
      <p:grpSp>
        <p:nvGrpSpPr>
          <p:cNvPr id="16" name="Group 15">
            <a:extLst>
              <a:ext uri="{FF2B5EF4-FFF2-40B4-BE49-F238E27FC236}">
                <a16:creationId xmlns:a16="http://schemas.microsoft.com/office/drawing/2014/main" id="{4BC1969F-268F-43EB-B59E-8521D08DA196}"/>
              </a:ext>
            </a:extLst>
          </p:cNvPr>
          <p:cNvGrpSpPr/>
          <p:nvPr/>
        </p:nvGrpSpPr>
        <p:grpSpPr>
          <a:xfrm>
            <a:off x="6096002" y="3861571"/>
            <a:ext cx="4615738" cy="3103518"/>
            <a:chOff x="6096002" y="4382690"/>
            <a:chExt cx="4615738" cy="1564531"/>
          </a:xfrm>
        </p:grpSpPr>
        <p:sp>
          <p:nvSpPr>
            <p:cNvPr id="68" name="TextBox 50">
              <a:extLst>
                <a:ext uri="{FF2B5EF4-FFF2-40B4-BE49-F238E27FC236}">
                  <a16:creationId xmlns:a16="http://schemas.microsoft.com/office/drawing/2014/main" id="{52083644-4C45-46F8-8A1B-166DD8A45EA2}"/>
                </a:ext>
              </a:extLst>
            </p:cNvPr>
            <p:cNvSpPr txBox="1"/>
            <p:nvPr/>
          </p:nvSpPr>
          <p:spPr>
            <a:xfrm>
              <a:off x="6096002" y="4382690"/>
              <a:ext cx="4459223" cy="3077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dirty="0"/>
                <a:t>Why Ask this Question? </a:t>
              </a:r>
            </a:p>
          </p:txBody>
        </p:sp>
        <p:sp>
          <p:nvSpPr>
            <p:cNvPr id="69" name="TextBox 48">
              <a:extLst>
                <a:ext uri="{FF2B5EF4-FFF2-40B4-BE49-F238E27FC236}">
                  <a16:creationId xmlns:a16="http://schemas.microsoft.com/office/drawing/2014/main" id="{088A9550-F038-4522-B957-33963EABE961}"/>
                </a:ext>
              </a:extLst>
            </p:cNvPr>
            <p:cNvSpPr txBox="1"/>
            <p:nvPr/>
          </p:nvSpPr>
          <p:spPr>
            <a:xfrm>
              <a:off x="6177840" y="4690467"/>
              <a:ext cx="4533900" cy="1256754"/>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This is important because we must understand what are the reasons that cause stroke to people.</a:t>
              </a:r>
            </a:p>
            <a:p>
              <a:r>
                <a:rPr lang="en-US" dirty="0"/>
                <a:t>If we can detect stroke successfully then we can help the community in preventing stroke.</a:t>
              </a:r>
            </a:p>
            <a:p>
              <a:endParaRPr lang="en-US" dirty="0"/>
            </a:p>
            <a:p>
              <a:r>
                <a:rPr lang="en-US" dirty="0"/>
                <a:t>So, we will use machine learning techniques on some features to detect strokes.</a:t>
              </a:r>
            </a:p>
            <a:p>
              <a:endParaRPr lang="en-US" dirty="0"/>
            </a:p>
          </p:txBody>
        </p:sp>
      </p:grpSp>
      <p:sp>
        <p:nvSpPr>
          <p:cNvPr id="30" name="Rectangle: Rounded Corners 29">
            <a:extLst>
              <a:ext uri="{FF2B5EF4-FFF2-40B4-BE49-F238E27FC236}">
                <a16:creationId xmlns:a16="http://schemas.microsoft.com/office/drawing/2014/main" id="{1084F888-1588-4806-BB49-705D2F659B7D}"/>
              </a:ext>
            </a:extLst>
          </p:cNvPr>
          <p:cNvSpPr/>
          <p:nvPr/>
        </p:nvSpPr>
        <p:spPr>
          <a:xfrm>
            <a:off x="1166955" y="2754413"/>
            <a:ext cx="4112967" cy="3202087"/>
          </a:xfrm>
          <a:prstGeom prst="roundRect">
            <a:avLst>
              <a:gd name="adj" fmla="val 6764"/>
            </a:avLst>
          </a:prstGeom>
          <a:gradFill>
            <a:gsLst>
              <a:gs pos="0">
                <a:schemeClr val="accent1"/>
              </a:gs>
              <a:gs pos="100000">
                <a:schemeClr val="accent2"/>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34" name="Group 33">
            <a:extLst>
              <a:ext uri="{FF2B5EF4-FFF2-40B4-BE49-F238E27FC236}">
                <a16:creationId xmlns:a16="http://schemas.microsoft.com/office/drawing/2014/main" id="{CE0097AB-720C-4098-84EB-1C63FF77432B}"/>
              </a:ext>
            </a:extLst>
          </p:cNvPr>
          <p:cNvGrpSpPr/>
          <p:nvPr/>
        </p:nvGrpSpPr>
        <p:grpSpPr>
          <a:xfrm>
            <a:off x="6096000" y="1169001"/>
            <a:ext cx="3897136" cy="2008395"/>
            <a:chOff x="6096002" y="4382690"/>
            <a:chExt cx="4459223" cy="579101"/>
          </a:xfrm>
        </p:grpSpPr>
        <p:sp>
          <p:nvSpPr>
            <p:cNvPr id="35" name="TextBox 50">
              <a:extLst>
                <a:ext uri="{FF2B5EF4-FFF2-40B4-BE49-F238E27FC236}">
                  <a16:creationId xmlns:a16="http://schemas.microsoft.com/office/drawing/2014/main" id="{AD6C99FB-5D8C-4BDD-8363-C5FBA4CE1511}"/>
                </a:ext>
              </a:extLst>
            </p:cNvPr>
            <p:cNvSpPr txBox="1"/>
            <p:nvPr/>
          </p:nvSpPr>
          <p:spPr>
            <a:xfrm>
              <a:off x="6096002" y="4382690"/>
              <a:ext cx="4459223" cy="177489"/>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2000" b="1" dirty="0"/>
                <a:t>What factors affect human death by stroke?</a:t>
              </a:r>
              <a:endParaRPr lang="en-US" sz="2000" b="1" dirty="0"/>
            </a:p>
          </p:txBody>
        </p:sp>
        <p:sp>
          <p:nvSpPr>
            <p:cNvPr id="36" name="TextBox 48">
              <a:extLst>
                <a:ext uri="{FF2B5EF4-FFF2-40B4-BE49-F238E27FC236}">
                  <a16:creationId xmlns:a16="http://schemas.microsoft.com/office/drawing/2014/main" id="{3D040B3B-0DC7-4FE3-855F-B26D9E3E8EBB}"/>
                </a:ext>
              </a:extLst>
            </p:cNvPr>
            <p:cNvSpPr txBox="1"/>
            <p:nvPr/>
          </p:nvSpPr>
          <p:spPr>
            <a:xfrm>
              <a:off x="6096002" y="4722181"/>
              <a:ext cx="3729499" cy="239610"/>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Is there an association between the  factors such as age, gender, BMI in detecting stroke?</a:t>
              </a:r>
            </a:p>
          </p:txBody>
        </p:sp>
      </p:grpSp>
      <p:pic>
        <p:nvPicPr>
          <p:cNvPr id="3" name="Picture 2">
            <a:extLst>
              <a:ext uri="{FF2B5EF4-FFF2-40B4-BE49-F238E27FC236}">
                <a16:creationId xmlns:a16="http://schemas.microsoft.com/office/drawing/2014/main" id="{6C0A98D1-8055-43E9-83F8-2C92924DECF9}"/>
              </a:ext>
            </a:extLst>
          </p:cNvPr>
          <p:cNvPicPr>
            <a:picLocks noChangeAspect="1"/>
          </p:cNvPicPr>
          <p:nvPr/>
        </p:nvPicPr>
        <p:blipFill>
          <a:blip r:embed="rId7"/>
          <a:stretch>
            <a:fillRect/>
          </a:stretch>
        </p:blipFill>
        <p:spPr>
          <a:xfrm>
            <a:off x="995493" y="1169002"/>
            <a:ext cx="4406938" cy="5688998"/>
          </a:xfrm>
          <a:prstGeom prst="rect">
            <a:avLst/>
          </a:prstGeom>
        </p:spPr>
      </p:pic>
    </p:spTree>
    <p:extLst>
      <p:ext uri="{BB962C8B-B14F-4D97-AF65-F5344CB8AC3E}">
        <p14:creationId xmlns:p14="http://schemas.microsoft.com/office/powerpoint/2010/main" val="20497230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 name="Picture 91" descr="A picture containing indoor, table&#10;&#10;Description automatically generated">
            <a:extLst>
              <a:ext uri="{FF2B5EF4-FFF2-40B4-BE49-F238E27FC236}">
                <a16:creationId xmlns:a16="http://schemas.microsoft.com/office/drawing/2014/main" id="{53814D30-71E0-4017-8ABD-97C7A5018964}"/>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1" t="50080" r="238" b="33298"/>
          <a:stretch/>
        </p:blipFill>
        <p:spPr>
          <a:xfrm>
            <a:off x="0" y="-1"/>
            <a:ext cx="12192000" cy="1355605"/>
          </a:xfrm>
          <a:prstGeom prst="rect">
            <a:avLst/>
          </a:prstGeom>
        </p:spPr>
      </p:pic>
      <p:sp>
        <p:nvSpPr>
          <p:cNvPr id="89" name="Rectangle 88">
            <a:extLst>
              <a:ext uri="{FF2B5EF4-FFF2-40B4-BE49-F238E27FC236}">
                <a16:creationId xmlns:a16="http://schemas.microsoft.com/office/drawing/2014/main" id="{203B2AA9-5954-4AEB-8D3A-8E4CAFCC7784}"/>
              </a:ext>
            </a:extLst>
          </p:cNvPr>
          <p:cNvSpPr/>
          <p:nvPr/>
        </p:nvSpPr>
        <p:spPr>
          <a:xfrm>
            <a:off x="0" y="0"/>
            <a:ext cx="12192000" cy="1355605"/>
          </a:xfrm>
          <a:prstGeom prst="rect">
            <a:avLst/>
          </a:pr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itle 1">
            <a:extLst>
              <a:ext uri="{FF2B5EF4-FFF2-40B4-BE49-F238E27FC236}">
                <a16:creationId xmlns:a16="http://schemas.microsoft.com/office/drawing/2014/main" id="{74495107-9902-4502-A538-A2E710DBD28A}"/>
              </a:ext>
            </a:extLst>
          </p:cNvPr>
          <p:cNvSpPr>
            <a:spLocks noGrp="1"/>
          </p:cNvSpPr>
          <p:nvPr>
            <p:ph type="title"/>
          </p:nvPr>
        </p:nvSpPr>
        <p:spPr/>
        <p:txBody>
          <a:bodyPr/>
          <a:lstStyle/>
          <a:p>
            <a:r>
              <a:rPr lang="en-US" dirty="0">
                <a:solidFill>
                  <a:schemeClr val="bg1"/>
                </a:solidFill>
              </a:rPr>
              <a:t>Data Science Pipeline</a:t>
            </a:r>
          </a:p>
        </p:txBody>
      </p:sp>
      <p:sp>
        <p:nvSpPr>
          <p:cNvPr id="4" name="Slide Number Placeholder 3">
            <a:extLst>
              <a:ext uri="{FF2B5EF4-FFF2-40B4-BE49-F238E27FC236}">
                <a16:creationId xmlns:a16="http://schemas.microsoft.com/office/drawing/2014/main" id="{207349B2-862C-48AC-BCAD-E05E40E4A431}"/>
              </a:ext>
            </a:extLst>
          </p:cNvPr>
          <p:cNvSpPr>
            <a:spLocks noGrp="1"/>
          </p:cNvSpPr>
          <p:nvPr>
            <p:ph type="sldNum" sz="quarter" idx="4"/>
          </p:nvPr>
        </p:nvSpPr>
        <p:spPr/>
        <p:txBody>
          <a:bodyPr/>
          <a:lstStyle/>
          <a:p>
            <a:fld id="{B84D2E29-67F4-44D8-B0E3-F54815B4F123}" type="slidenum">
              <a:rPr lang="en-US" smtClean="0"/>
              <a:pPr/>
              <a:t>7</a:t>
            </a:fld>
            <a:endParaRPr lang="en-US" dirty="0"/>
          </a:p>
        </p:txBody>
      </p:sp>
      <p:grpSp>
        <p:nvGrpSpPr>
          <p:cNvPr id="90" name="Group 89">
            <a:extLst>
              <a:ext uri="{FF2B5EF4-FFF2-40B4-BE49-F238E27FC236}">
                <a16:creationId xmlns:a16="http://schemas.microsoft.com/office/drawing/2014/main" id="{91E2E712-4988-4AAA-ABCE-9284BF340745}"/>
              </a:ext>
            </a:extLst>
          </p:cNvPr>
          <p:cNvGrpSpPr/>
          <p:nvPr/>
        </p:nvGrpSpPr>
        <p:grpSpPr>
          <a:xfrm>
            <a:off x="156812" y="2118852"/>
            <a:ext cx="11734797" cy="4349891"/>
            <a:chOff x="156812" y="1966452"/>
            <a:chExt cx="11734797" cy="4349891"/>
          </a:xfrm>
        </p:grpSpPr>
        <p:grpSp>
          <p:nvGrpSpPr>
            <p:cNvPr id="81" name="Group 80">
              <a:extLst>
                <a:ext uri="{FF2B5EF4-FFF2-40B4-BE49-F238E27FC236}">
                  <a16:creationId xmlns:a16="http://schemas.microsoft.com/office/drawing/2014/main" id="{7FAF28BD-610D-4629-A820-0010C0D22E67}"/>
                </a:ext>
              </a:extLst>
            </p:cNvPr>
            <p:cNvGrpSpPr/>
            <p:nvPr/>
          </p:nvGrpSpPr>
          <p:grpSpPr>
            <a:xfrm>
              <a:off x="1368770" y="3673761"/>
              <a:ext cx="9453220" cy="330671"/>
              <a:chOff x="1883972" y="3673761"/>
              <a:chExt cx="8422815" cy="330671"/>
            </a:xfrm>
          </p:grpSpPr>
          <p:sp>
            <p:nvSpPr>
              <p:cNvPr id="6" name="Rectangle 5">
                <a:extLst>
                  <a:ext uri="{FF2B5EF4-FFF2-40B4-BE49-F238E27FC236}">
                    <a16:creationId xmlns:a16="http://schemas.microsoft.com/office/drawing/2014/main" id="{1A292682-9A29-49B2-B131-FF27BFAEFD44}"/>
                  </a:ext>
                </a:extLst>
              </p:cNvPr>
              <p:cNvSpPr/>
              <p:nvPr/>
            </p:nvSpPr>
            <p:spPr>
              <a:xfrm>
                <a:off x="1883972" y="3673761"/>
                <a:ext cx="1403802" cy="330671"/>
              </a:xfrm>
              <a:prstGeom prst="rect">
                <a:avLst/>
              </a:prstGeom>
              <a:solidFill>
                <a:schemeClr val="accent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BC09A654-E1A0-45EA-A62D-70984FC70115}"/>
                  </a:ext>
                </a:extLst>
              </p:cNvPr>
              <p:cNvSpPr/>
              <p:nvPr/>
            </p:nvSpPr>
            <p:spPr>
              <a:xfrm>
                <a:off x="3287774" y="3673761"/>
                <a:ext cx="1403802" cy="330671"/>
              </a:xfrm>
              <a:prstGeom prst="rect">
                <a:avLst/>
              </a:prstGeom>
              <a:solidFill>
                <a:schemeClr val="accent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D77ECF71-62B7-4478-95FE-C550687016CC}"/>
                  </a:ext>
                </a:extLst>
              </p:cNvPr>
              <p:cNvSpPr/>
              <p:nvPr/>
            </p:nvSpPr>
            <p:spPr>
              <a:xfrm>
                <a:off x="4691577" y="3673761"/>
                <a:ext cx="1403802" cy="330671"/>
              </a:xfrm>
              <a:prstGeom prst="rect">
                <a:avLst/>
              </a:prstGeom>
              <a:solidFill>
                <a:schemeClr val="accent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3CCD0EAD-CA59-4CFA-9798-81AE71EAFFEF}"/>
                  </a:ext>
                </a:extLst>
              </p:cNvPr>
              <p:cNvSpPr/>
              <p:nvPr/>
            </p:nvSpPr>
            <p:spPr>
              <a:xfrm>
                <a:off x="6095379" y="3673761"/>
                <a:ext cx="1403802" cy="330671"/>
              </a:xfrm>
              <a:prstGeom prst="rect">
                <a:avLst/>
              </a:prstGeom>
              <a:solidFill>
                <a:schemeClr val="accent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724FD75A-4096-40F3-80C6-843D2DE2657D}"/>
                  </a:ext>
                </a:extLst>
              </p:cNvPr>
              <p:cNvSpPr/>
              <p:nvPr/>
            </p:nvSpPr>
            <p:spPr>
              <a:xfrm>
                <a:off x="7499183" y="3673761"/>
                <a:ext cx="1403802" cy="330671"/>
              </a:xfrm>
              <a:prstGeom prst="rect">
                <a:avLst/>
              </a:prstGeom>
              <a:solidFill>
                <a:schemeClr val="accent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AD8E838D-2803-4BFE-A07A-09FBF640320A}"/>
                  </a:ext>
                </a:extLst>
              </p:cNvPr>
              <p:cNvSpPr/>
              <p:nvPr/>
            </p:nvSpPr>
            <p:spPr>
              <a:xfrm>
                <a:off x="8902985" y="3673761"/>
                <a:ext cx="1403802" cy="330671"/>
              </a:xfrm>
              <a:prstGeom prst="rect">
                <a:avLst/>
              </a:prstGeom>
              <a:solidFill>
                <a:schemeClr val="accent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74" name="Group 73">
              <a:extLst>
                <a:ext uri="{FF2B5EF4-FFF2-40B4-BE49-F238E27FC236}">
                  <a16:creationId xmlns:a16="http://schemas.microsoft.com/office/drawing/2014/main" id="{C3B9FE4F-1501-4E61-8835-914F6D97A73C}"/>
                </a:ext>
              </a:extLst>
            </p:cNvPr>
            <p:cNvGrpSpPr/>
            <p:nvPr/>
          </p:nvGrpSpPr>
          <p:grpSpPr>
            <a:xfrm>
              <a:off x="945013" y="3556426"/>
              <a:ext cx="565344" cy="565339"/>
              <a:chOff x="1601299" y="3556426"/>
              <a:chExt cx="565344" cy="565339"/>
            </a:xfrm>
          </p:grpSpPr>
          <p:sp>
            <p:nvSpPr>
              <p:cNvPr id="12" name="Oval 11">
                <a:extLst>
                  <a:ext uri="{FF2B5EF4-FFF2-40B4-BE49-F238E27FC236}">
                    <a16:creationId xmlns:a16="http://schemas.microsoft.com/office/drawing/2014/main" id="{5E9A8E9A-5449-4F64-A238-7D426B54CD22}"/>
                  </a:ext>
                </a:extLst>
              </p:cNvPr>
              <p:cNvSpPr/>
              <p:nvPr/>
            </p:nvSpPr>
            <p:spPr>
              <a:xfrm>
                <a:off x="1601299" y="3556426"/>
                <a:ext cx="565344" cy="565339"/>
              </a:xfrm>
              <a:prstGeom prst="ellipse">
                <a:avLst/>
              </a:prstGeom>
              <a:solidFill>
                <a:schemeClr val="accent2">
                  <a:alpha val="6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Oval 12">
                <a:extLst>
                  <a:ext uri="{FF2B5EF4-FFF2-40B4-BE49-F238E27FC236}">
                    <a16:creationId xmlns:a16="http://schemas.microsoft.com/office/drawing/2014/main" id="{4C7201BE-F539-4E7C-9EF6-F92F03A1C4DA}"/>
                  </a:ext>
                </a:extLst>
              </p:cNvPr>
              <p:cNvSpPr/>
              <p:nvPr/>
            </p:nvSpPr>
            <p:spPr>
              <a:xfrm>
                <a:off x="1718636" y="3673760"/>
                <a:ext cx="330671" cy="330671"/>
              </a:xfrm>
              <a:prstGeom prst="ellipse">
                <a:avLst/>
              </a:prstGeom>
              <a:solidFill>
                <a:sysClr val="window" lastClr="FFFFFF"/>
              </a:solidFill>
              <a:ln w="12700" cap="flat" cmpd="sng" algn="ctr">
                <a:noFill/>
                <a:prstDash val="solid"/>
                <a:miter lim="800000"/>
              </a:ln>
              <a:effectLst>
                <a:outerShdw blurRad="50800" dist="38100" dir="5400000" algn="t" rotWithShape="0">
                  <a:prstClr val="black">
                    <a:alpha val="15000"/>
                  </a:prstClr>
                </a:outerShd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F5858"/>
                    </a:solidFill>
                    <a:effectLst/>
                    <a:uLnTx/>
                    <a:uFillTx/>
                    <a:latin typeface="Century Gothic" panose="020B0502020202020204" pitchFamily="34" charset="0"/>
                    <a:ea typeface="+mn-ea"/>
                    <a:cs typeface="+mn-cs"/>
                  </a:rPr>
                  <a:t>1</a:t>
                </a:r>
              </a:p>
            </p:txBody>
          </p:sp>
        </p:grpSp>
        <p:grpSp>
          <p:nvGrpSpPr>
            <p:cNvPr id="75" name="Group 74">
              <a:extLst>
                <a:ext uri="{FF2B5EF4-FFF2-40B4-BE49-F238E27FC236}">
                  <a16:creationId xmlns:a16="http://schemas.microsoft.com/office/drawing/2014/main" id="{E49F16CB-6A96-4441-96D2-0847B502518F}"/>
                </a:ext>
              </a:extLst>
            </p:cNvPr>
            <p:cNvGrpSpPr/>
            <p:nvPr/>
          </p:nvGrpSpPr>
          <p:grpSpPr>
            <a:xfrm>
              <a:off x="2544064" y="3556426"/>
              <a:ext cx="565344" cy="565339"/>
              <a:chOff x="3005102" y="3556426"/>
              <a:chExt cx="565344" cy="565339"/>
            </a:xfrm>
          </p:grpSpPr>
          <p:sp>
            <p:nvSpPr>
              <p:cNvPr id="14" name="Oval 13">
                <a:extLst>
                  <a:ext uri="{FF2B5EF4-FFF2-40B4-BE49-F238E27FC236}">
                    <a16:creationId xmlns:a16="http://schemas.microsoft.com/office/drawing/2014/main" id="{F70BB886-9C0A-4ECC-8337-D8DEF6DC109C}"/>
                  </a:ext>
                </a:extLst>
              </p:cNvPr>
              <p:cNvSpPr/>
              <p:nvPr/>
            </p:nvSpPr>
            <p:spPr>
              <a:xfrm>
                <a:off x="3005102" y="3556426"/>
                <a:ext cx="565344" cy="565339"/>
              </a:xfrm>
              <a:prstGeom prst="ellipse">
                <a:avLst/>
              </a:prstGeom>
              <a:solidFill>
                <a:schemeClr val="accent1">
                  <a:lumMod val="20000"/>
                  <a:lumOff val="80000"/>
                  <a:alpha val="6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Oval 14">
                <a:extLst>
                  <a:ext uri="{FF2B5EF4-FFF2-40B4-BE49-F238E27FC236}">
                    <a16:creationId xmlns:a16="http://schemas.microsoft.com/office/drawing/2014/main" id="{1BFA58F6-04E8-4B61-8583-EC7A9B018F2D}"/>
                  </a:ext>
                </a:extLst>
              </p:cNvPr>
              <p:cNvSpPr/>
              <p:nvPr/>
            </p:nvSpPr>
            <p:spPr>
              <a:xfrm>
                <a:off x="3122439" y="3673760"/>
                <a:ext cx="330671" cy="330671"/>
              </a:xfrm>
              <a:prstGeom prst="ellipse">
                <a:avLst/>
              </a:prstGeom>
              <a:solidFill>
                <a:sysClr val="window" lastClr="FFFFFF"/>
              </a:solidFill>
              <a:ln w="12700" cap="flat" cmpd="sng" algn="ctr">
                <a:noFill/>
                <a:prstDash val="solid"/>
                <a:miter lim="800000"/>
              </a:ln>
              <a:effectLst>
                <a:outerShdw blurRad="50800" dist="38100" dir="5400000" algn="t" rotWithShape="0">
                  <a:prstClr val="black">
                    <a:alpha val="15000"/>
                  </a:prstClr>
                </a:outerShd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F5858"/>
                    </a:solidFill>
                    <a:effectLst/>
                    <a:uLnTx/>
                    <a:uFillTx/>
                    <a:latin typeface="Century Gothic" panose="020B0502020202020204" pitchFamily="34" charset="0"/>
                    <a:ea typeface="+mn-ea"/>
                    <a:cs typeface="+mn-cs"/>
                  </a:rPr>
                  <a:t>2</a:t>
                </a:r>
              </a:p>
            </p:txBody>
          </p:sp>
        </p:grpSp>
        <p:grpSp>
          <p:nvGrpSpPr>
            <p:cNvPr id="76" name="Group 75">
              <a:extLst>
                <a:ext uri="{FF2B5EF4-FFF2-40B4-BE49-F238E27FC236}">
                  <a16:creationId xmlns:a16="http://schemas.microsoft.com/office/drawing/2014/main" id="{E73AE651-764C-4495-A35B-0E7144E8144B}"/>
                </a:ext>
              </a:extLst>
            </p:cNvPr>
            <p:cNvGrpSpPr/>
            <p:nvPr/>
          </p:nvGrpSpPr>
          <p:grpSpPr>
            <a:xfrm>
              <a:off x="4143115" y="3556426"/>
              <a:ext cx="565344" cy="565339"/>
              <a:chOff x="4404126" y="3556426"/>
              <a:chExt cx="565344" cy="565339"/>
            </a:xfrm>
          </p:grpSpPr>
          <p:sp>
            <p:nvSpPr>
              <p:cNvPr id="16" name="Oval 15">
                <a:extLst>
                  <a:ext uri="{FF2B5EF4-FFF2-40B4-BE49-F238E27FC236}">
                    <a16:creationId xmlns:a16="http://schemas.microsoft.com/office/drawing/2014/main" id="{159DEC6E-422F-4F0D-B04E-EF88EBF21AE8}"/>
                  </a:ext>
                </a:extLst>
              </p:cNvPr>
              <p:cNvSpPr/>
              <p:nvPr/>
            </p:nvSpPr>
            <p:spPr>
              <a:xfrm>
                <a:off x="4404126" y="3556426"/>
                <a:ext cx="565344" cy="565339"/>
              </a:xfrm>
              <a:prstGeom prst="ellipse">
                <a:avLst/>
              </a:prstGeom>
              <a:solidFill>
                <a:schemeClr val="accent2">
                  <a:alpha val="6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Oval 16">
                <a:extLst>
                  <a:ext uri="{FF2B5EF4-FFF2-40B4-BE49-F238E27FC236}">
                    <a16:creationId xmlns:a16="http://schemas.microsoft.com/office/drawing/2014/main" id="{7FC61B0B-3959-4810-AC42-354FED05F7BB}"/>
                  </a:ext>
                </a:extLst>
              </p:cNvPr>
              <p:cNvSpPr/>
              <p:nvPr/>
            </p:nvSpPr>
            <p:spPr>
              <a:xfrm>
                <a:off x="4521463" y="3673760"/>
                <a:ext cx="330671" cy="330671"/>
              </a:xfrm>
              <a:prstGeom prst="ellipse">
                <a:avLst/>
              </a:prstGeom>
              <a:solidFill>
                <a:sysClr val="window" lastClr="FFFFFF"/>
              </a:solidFill>
              <a:ln w="12700" cap="flat" cmpd="sng" algn="ctr">
                <a:noFill/>
                <a:prstDash val="solid"/>
                <a:miter lim="800000"/>
              </a:ln>
              <a:effectLst>
                <a:outerShdw blurRad="50800" dist="38100" dir="5400000" algn="t" rotWithShape="0">
                  <a:prstClr val="black">
                    <a:alpha val="15000"/>
                  </a:prstClr>
                </a:outerShd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F5858"/>
                    </a:solidFill>
                    <a:effectLst/>
                    <a:uLnTx/>
                    <a:uFillTx/>
                    <a:latin typeface="Century Gothic" panose="020B0502020202020204" pitchFamily="34" charset="0"/>
                    <a:ea typeface="+mn-ea"/>
                    <a:cs typeface="+mn-cs"/>
                  </a:rPr>
                  <a:t>3</a:t>
                </a:r>
              </a:p>
            </p:txBody>
          </p:sp>
        </p:grpSp>
        <p:grpSp>
          <p:nvGrpSpPr>
            <p:cNvPr id="77" name="Group 76">
              <a:extLst>
                <a:ext uri="{FF2B5EF4-FFF2-40B4-BE49-F238E27FC236}">
                  <a16:creationId xmlns:a16="http://schemas.microsoft.com/office/drawing/2014/main" id="{D497EBF3-A1BC-41A2-8FC3-00D8673913A0}"/>
                </a:ext>
              </a:extLst>
            </p:cNvPr>
            <p:cNvGrpSpPr/>
            <p:nvPr/>
          </p:nvGrpSpPr>
          <p:grpSpPr>
            <a:xfrm>
              <a:off x="5742166" y="3556426"/>
              <a:ext cx="565344" cy="565339"/>
              <a:chOff x="5812706" y="3556426"/>
              <a:chExt cx="565344" cy="565339"/>
            </a:xfrm>
          </p:grpSpPr>
          <p:sp>
            <p:nvSpPr>
              <p:cNvPr id="18" name="Oval 17">
                <a:extLst>
                  <a:ext uri="{FF2B5EF4-FFF2-40B4-BE49-F238E27FC236}">
                    <a16:creationId xmlns:a16="http://schemas.microsoft.com/office/drawing/2014/main" id="{4F963940-EFFC-4CEA-A2B1-F7FE5A225BF6}"/>
                  </a:ext>
                </a:extLst>
              </p:cNvPr>
              <p:cNvSpPr/>
              <p:nvPr/>
            </p:nvSpPr>
            <p:spPr>
              <a:xfrm>
                <a:off x="5812706" y="3556426"/>
                <a:ext cx="565344" cy="565339"/>
              </a:xfrm>
              <a:prstGeom prst="ellipse">
                <a:avLst/>
              </a:prstGeom>
              <a:solidFill>
                <a:schemeClr val="accent1">
                  <a:lumMod val="20000"/>
                  <a:lumOff val="80000"/>
                  <a:alpha val="6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Oval 18">
                <a:extLst>
                  <a:ext uri="{FF2B5EF4-FFF2-40B4-BE49-F238E27FC236}">
                    <a16:creationId xmlns:a16="http://schemas.microsoft.com/office/drawing/2014/main" id="{28BCD415-1C93-47CF-87D6-D078DFF5522F}"/>
                  </a:ext>
                </a:extLst>
              </p:cNvPr>
              <p:cNvSpPr/>
              <p:nvPr/>
            </p:nvSpPr>
            <p:spPr>
              <a:xfrm>
                <a:off x="5930043" y="3673760"/>
                <a:ext cx="330671" cy="330671"/>
              </a:xfrm>
              <a:prstGeom prst="ellipse">
                <a:avLst/>
              </a:prstGeom>
              <a:solidFill>
                <a:sysClr val="window" lastClr="FFFFFF"/>
              </a:solidFill>
              <a:ln w="12700" cap="flat" cmpd="sng" algn="ctr">
                <a:noFill/>
                <a:prstDash val="solid"/>
                <a:miter lim="800000"/>
              </a:ln>
              <a:effectLst>
                <a:outerShdw blurRad="50800" dist="38100" dir="5400000" algn="t" rotWithShape="0">
                  <a:prstClr val="black">
                    <a:alpha val="15000"/>
                  </a:prstClr>
                </a:outerShd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F5858"/>
                    </a:solidFill>
                    <a:effectLst/>
                    <a:uLnTx/>
                    <a:uFillTx/>
                    <a:latin typeface="Century Gothic" panose="020B0502020202020204" pitchFamily="34" charset="0"/>
                    <a:ea typeface="+mn-ea"/>
                    <a:cs typeface="+mn-cs"/>
                  </a:rPr>
                  <a:t>4</a:t>
                </a:r>
              </a:p>
            </p:txBody>
          </p:sp>
        </p:grpSp>
        <p:grpSp>
          <p:nvGrpSpPr>
            <p:cNvPr id="78" name="Group 77">
              <a:extLst>
                <a:ext uri="{FF2B5EF4-FFF2-40B4-BE49-F238E27FC236}">
                  <a16:creationId xmlns:a16="http://schemas.microsoft.com/office/drawing/2014/main" id="{536FD439-4D7D-42C5-ADF3-0BC3A226621B}"/>
                </a:ext>
              </a:extLst>
            </p:cNvPr>
            <p:cNvGrpSpPr/>
            <p:nvPr/>
          </p:nvGrpSpPr>
          <p:grpSpPr>
            <a:xfrm>
              <a:off x="7341217" y="3556426"/>
              <a:ext cx="565344" cy="565339"/>
              <a:chOff x="7211732" y="3556426"/>
              <a:chExt cx="565344" cy="565339"/>
            </a:xfrm>
          </p:grpSpPr>
          <p:sp>
            <p:nvSpPr>
              <p:cNvPr id="20" name="Oval 19">
                <a:extLst>
                  <a:ext uri="{FF2B5EF4-FFF2-40B4-BE49-F238E27FC236}">
                    <a16:creationId xmlns:a16="http://schemas.microsoft.com/office/drawing/2014/main" id="{9704DDEE-ADF6-49D9-B6EA-9CE489FFF2E4}"/>
                  </a:ext>
                </a:extLst>
              </p:cNvPr>
              <p:cNvSpPr/>
              <p:nvPr/>
            </p:nvSpPr>
            <p:spPr>
              <a:xfrm>
                <a:off x="7211732" y="3556426"/>
                <a:ext cx="565344" cy="565339"/>
              </a:xfrm>
              <a:prstGeom prst="ellipse">
                <a:avLst/>
              </a:prstGeom>
              <a:solidFill>
                <a:schemeClr val="accent2">
                  <a:alpha val="6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Oval 20">
                <a:extLst>
                  <a:ext uri="{FF2B5EF4-FFF2-40B4-BE49-F238E27FC236}">
                    <a16:creationId xmlns:a16="http://schemas.microsoft.com/office/drawing/2014/main" id="{23F4F6EA-F614-4704-849A-41000F123666}"/>
                  </a:ext>
                </a:extLst>
              </p:cNvPr>
              <p:cNvSpPr/>
              <p:nvPr/>
            </p:nvSpPr>
            <p:spPr>
              <a:xfrm>
                <a:off x="7329069" y="3673760"/>
                <a:ext cx="330671" cy="330671"/>
              </a:xfrm>
              <a:prstGeom prst="ellipse">
                <a:avLst/>
              </a:prstGeom>
              <a:solidFill>
                <a:sysClr val="window" lastClr="FFFFFF"/>
              </a:solidFill>
              <a:ln w="12700" cap="flat" cmpd="sng" algn="ctr">
                <a:noFill/>
                <a:prstDash val="solid"/>
                <a:miter lim="800000"/>
              </a:ln>
              <a:effectLst>
                <a:outerShdw blurRad="50800" dist="38100" dir="5400000" algn="t" rotWithShape="0">
                  <a:prstClr val="black">
                    <a:alpha val="15000"/>
                  </a:prstClr>
                </a:outerShd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F5858"/>
                    </a:solidFill>
                    <a:effectLst/>
                    <a:uLnTx/>
                    <a:uFillTx/>
                    <a:latin typeface="Century Gothic" panose="020B0502020202020204" pitchFamily="34" charset="0"/>
                    <a:ea typeface="+mn-ea"/>
                    <a:cs typeface="+mn-cs"/>
                  </a:rPr>
                  <a:t>5</a:t>
                </a:r>
              </a:p>
            </p:txBody>
          </p:sp>
        </p:grpSp>
        <p:grpSp>
          <p:nvGrpSpPr>
            <p:cNvPr id="79" name="Group 78">
              <a:extLst>
                <a:ext uri="{FF2B5EF4-FFF2-40B4-BE49-F238E27FC236}">
                  <a16:creationId xmlns:a16="http://schemas.microsoft.com/office/drawing/2014/main" id="{31411FAD-3A79-4E3A-B1E4-0ADD67D5B034}"/>
                </a:ext>
              </a:extLst>
            </p:cNvPr>
            <p:cNvGrpSpPr/>
            <p:nvPr/>
          </p:nvGrpSpPr>
          <p:grpSpPr>
            <a:xfrm>
              <a:off x="8940268" y="3556426"/>
              <a:ext cx="565344" cy="565339"/>
              <a:chOff x="8610757" y="3556426"/>
              <a:chExt cx="565344" cy="565339"/>
            </a:xfrm>
          </p:grpSpPr>
          <p:sp>
            <p:nvSpPr>
              <p:cNvPr id="22" name="Oval 21">
                <a:extLst>
                  <a:ext uri="{FF2B5EF4-FFF2-40B4-BE49-F238E27FC236}">
                    <a16:creationId xmlns:a16="http://schemas.microsoft.com/office/drawing/2014/main" id="{4E0A6358-FCC8-42E6-BD69-7FE7D29319B3}"/>
                  </a:ext>
                </a:extLst>
              </p:cNvPr>
              <p:cNvSpPr/>
              <p:nvPr/>
            </p:nvSpPr>
            <p:spPr>
              <a:xfrm>
                <a:off x="8610757" y="3556426"/>
                <a:ext cx="565344" cy="565339"/>
              </a:xfrm>
              <a:prstGeom prst="ellipse">
                <a:avLst/>
              </a:prstGeom>
              <a:solidFill>
                <a:schemeClr val="accent1">
                  <a:lumMod val="20000"/>
                  <a:lumOff val="80000"/>
                  <a:alpha val="6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Oval 22">
                <a:extLst>
                  <a:ext uri="{FF2B5EF4-FFF2-40B4-BE49-F238E27FC236}">
                    <a16:creationId xmlns:a16="http://schemas.microsoft.com/office/drawing/2014/main" id="{F17617C7-096F-4181-9C5C-9D3EB466D65E}"/>
                  </a:ext>
                </a:extLst>
              </p:cNvPr>
              <p:cNvSpPr/>
              <p:nvPr/>
            </p:nvSpPr>
            <p:spPr>
              <a:xfrm>
                <a:off x="8728094" y="3673760"/>
                <a:ext cx="330671" cy="330671"/>
              </a:xfrm>
              <a:prstGeom prst="ellipse">
                <a:avLst/>
              </a:prstGeom>
              <a:solidFill>
                <a:sysClr val="window" lastClr="FFFFFF"/>
              </a:solidFill>
              <a:ln w="12700" cap="flat" cmpd="sng" algn="ctr">
                <a:noFill/>
                <a:prstDash val="solid"/>
                <a:miter lim="800000"/>
              </a:ln>
              <a:effectLst>
                <a:outerShdw blurRad="50800" dist="38100" dir="5400000" algn="t" rotWithShape="0">
                  <a:prstClr val="black">
                    <a:alpha val="15000"/>
                  </a:prstClr>
                </a:outerShd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F5858"/>
                    </a:solidFill>
                    <a:effectLst/>
                    <a:uLnTx/>
                    <a:uFillTx/>
                    <a:latin typeface="Century Gothic" panose="020B0502020202020204" pitchFamily="34" charset="0"/>
                    <a:ea typeface="+mn-ea"/>
                    <a:cs typeface="+mn-cs"/>
                  </a:rPr>
                  <a:t>6</a:t>
                </a:r>
              </a:p>
            </p:txBody>
          </p:sp>
        </p:grpSp>
        <p:grpSp>
          <p:nvGrpSpPr>
            <p:cNvPr id="80" name="Group 79">
              <a:extLst>
                <a:ext uri="{FF2B5EF4-FFF2-40B4-BE49-F238E27FC236}">
                  <a16:creationId xmlns:a16="http://schemas.microsoft.com/office/drawing/2014/main" id="{E1A8774E-7E31-4ED9-A02C-E6BE77075CF7}"/>
                </a:ext>
              </a:extLst>
            </p:cNvPr>
            <p:cNvGrpSpPr/>
            <p:nvPr/>
          </p:nvGrpSpPr>
          <p:grpSpPr>
            <a:xfrm>
              <a:off x="10539320" y="3556426"/>
              <a:ext cx="565344" cy="565339"/>
              <a:chOff x="10018211" y="3556426"/>
              <a:chExt cx="565344" cy="565339"/>
            </a:xfrm>
          </p:grpSpPr>
          <p:sp>
            <p:nvSpPr>
              <p:cNvPr id="24" name="Oval 23">
                <a:extLst>
                  <a:ext uri="{FF2B5EF4-FFF2-40B4-BE49-F238E27FC236}">
                    <a16:creationId xmlns:a16="http://schemas.microsoft.com/office/drawing/2014/main" id="{5054E65C-D3EF-4A34-B7D3-C04C68C7B7B0}"/>
                  </a:ext>
                </a:extLst>
              </p:cNvPr>
              <p:cNvSpPr/>
              <p:nvPr/>
            </p:nvSpPr>
            <p:spPr>
              <a:xfrm>
                <a:off x="10018211" y="3556426"/>
                <a:ext cx="565344" cy="565339"/>
              </a:xfrm>
              <a:prstGeom prst="ellipse">
                <a:avLst/>
              </a:prstGeom>
              <a:solidFill>
                <a:schemeClr val="accent2">
                  <a:alpha val="6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Oval 24">
                <a:extLst>
                  <a:ext uri="{FF2B5EF4-FFF2-40B4-BE49-F238E27FC236}">
                    <a16:creationId xmlns:a16="http://schemas.microsoft.com/office/drawing/2014/main" id="{44B14336-21C5-4DAF-848D-C3E7FD07F99A}"/>
                  </a:ext>
                </a:extLst>
              </p:cNvPr>
              <p:cNvSpPr/>
              <p:nvPr/>
            </p:nvSpPr>
            <p:spPr>
              <a:xfrm>
                <a:off x="10135548" y="3673760"/>
                <a:ext cx="330671" cy="330671"/>
              </a:xfrm>
              <a:prstGeom prst="ellipse">
                <a:avLst/>
              </a:prstGeom>
              <a:solidFill>
                <a:sysClr val="window" lastClr="FFFFFF"/>
              </a:solidFill>
              <a:ln w="12700" cap="flat" cmpd="sng" algn="ctr">
                <a:noFill/>
                <a:prstDash val="solid"/>
                <a:miter lim="800000"/>
              </a:ln>
              <a:effectLst>
                <a:outerShdw blurRad="50800" dist="38100" dir="5400000" algn="t" rotWithShape="0">
                  <a:prstClr val="black">
                    <a:alpha val="15000"/>
                  </a:prstClr>
                </a:outerShd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F5858"/>
                    </a:solidFill>
                    <a:effectLst/>
                    <a:uLnTx/>
                    <a:uFillTx/>
                    <a:latin typeface="Century Gothic" panose="020B0502020202020204" pitchFamily="34" charset="0"/>
                    <a:ea typeface="+mn-ea"/>
                    <a:cs typeface="+mn-cs"/>
                  </a:rPr>
                  <a:t>7</a:t>
                </a:r>
              </a:p>
            </p:txBody>
          </p:sp>
        </p:grpSp>
        <p:cxnSp>
          <p:nvCxnSpPr>
            <p:cNvPr id="26" name="Straight Connector 25">
              <a:extLst>
                <a:ext uri="{FF2B5EF4-FFF2-40B4-BE49-F238E27FC236}">
                  <a16:creationId xmlns:a16="http://schemas.microsoft.com/office/drawing/2014/main" id="{2B2A88DD-097A-49D3-BD99-3E5A8ED4FA15}"/>
                </a:ext>
              </a:extLst>
            </p:cNvPr>
            <p:cNvCxnSpPr/>
            <p:nvPr/>
          </p:nvCxnSpPr>
          <p:spPr>
            <a:xfrm>
              <a:off x="1227685" y="3188434"/>
              <a:ext cx="0" cy="485325"/>
            </a:xfrm>
            <a:prstGeom prst="line">
              <a:avLst/>
            </a:prstGeom>
            <a:noFill/>
            <a:ln w="12700" cap="flat" cmpd="sng" algn="ctr">
              <a:solidFill>
                <a:schemeClr val="accent2">
                  <a:lumMod val="20000"/>
                  <a:lumOff val="80000"/>
                </a:schemeClr>
              </a:solidFill>
              <a:prstDash val="solid"/>
              <a:miter lim="800000"/>
              <a:headEnd type="oval"/>
            </a:ln>
            <a:effectLst/>
          </p:spPr>
        </p:cxnSp>
        <p:cxnSp>
          <p:nvCxnSpPr>
            <p:cNvPr id="27" name="Straight Connector 26">
              <a:extLst>
                <a:ext uri="{FF2B5EF4-FFF2-40B4-BE49-F238E27FC236}">
                  <a16:creationId xmlns:a16="http://schemas.microsoft.com/office/drawing/2014/main" id="{E8A24795-E3AA-48FC-9B9A-EC4050556EFF}"/>
                </a:ext>
              </a:extLst>
            </p:cNvPr>
            <p:cNvCxnSpPr/>
            <p:nvPr/>
          </p:nvCxnSpPr>
          <p:spPr>
            <a:xfrm>
              <a:off x="4425787" y="3188434"/>
              <a:ext cx="0" cy="485325"/>
            </a:xfrm>
            <a:prstGeom prst="line">
              <a:avLst/>
            </a:prstGeom>
            <a:noFill/>
            <a:ln w="12700" cap="flat" cmpd="sng" algn="ctr">
              <a:solidFill>
                <a:schemeClr val="accent2">
                  <a:lumMod val="20000"/>
                  <a:lumOff val="80000"/>
                </a:schemeClr>
              </a:solidFill>
              <a:prstDash val="solid"/>
              <a:miter lim="800000"/>
              <a:headEnd type="oval"/>
            </a:ln>
            <a:effectLst/>
          </p:spPr>
        </p:cxnSp>
        <p:cxnSp>
          <p:nvCxnSpPr>
            <p:cNvPr id="28" name="Straight Connector 27">
              <a:extLst>
                <a:ext uri="{FF2B5EF4-FFF2-40B4-BE49-F238E27FC236}">
                  <a16:creationId xmlns:a16="http://schemas.microsoft.com/office/drawing/2014/main" id="{8AD20867-29C7-4C15-B5CF-020676BEF102}"/>
                </a:ext>
              </a:extLst>
            </p:cNvPr>
            <p:cNvCxnSpPr/>
            <p:nvPr/>
          </p:nvCxnSpPr>
          <p:spPr>
            <a:xfrm>
              <a:off x="7623889" y="3188434"/>
              <a:ext cx="0" cy="485325"/>
            </a:xfrm>
            <a:prstGeom prst="line">
              <a:avLst/>
            </a:prstGeom>
            <a:noFill/>
            <a:ln w="12700" cap="flat" cmpd="sng" algn="ctr">
              <a:solidFill>
                <a:schemeClr val="accent2">
                  <a:lumMod val="20000"/>
                  <a:lumOff val="80000"/>
                </a:schemeClr>
              </a:solidFill>
              <a:prstDash val="solid"/>
              <a:miter lim="800000"/>
              <a:headEnd type="oval"/>
            </a:ln>
            <a:effectLst/>
          </p:spPr>
        </p:cxnSp>
        <p:cxnSp>
          <p:nvCxnSpPr>
            <p:cNvPr id="29" name="Straight Connector 28">
              <a:extLst>
                <a:ext uri="{FF2B5EF4-FFF2-40B4-BE49-F238E27FC236}">
                  <a16:creationId xmlns:a16="http://schemas.microsoft.com/office/drawing/2014/main" id="{65A03593-3D9C-4876-9255-0FCE41632CCF}"/>
                </a:ext>
              </a:extLst>
            </p:cNvPr>
            <p:cNvCxnSpPr/>
            <p:nvPr/>
          </p:nvCxnSpPr>
          <p:spPr>
            <a:xfrm>
              <a:off x="10821992" y="3188434"/>
              <a:ext cx="0" cy="485325"/>
            </a:xfrm>
            <a:prstGeom prst="line">
              <a:avLst/>
            </a:prstGeom>
            <a:noFill/>
            <a:ln w="12700" cap="flat" cmpd="sng" algn="ctr">
              <a:solidFill>
                <a:schemeClr val="accent2">
                  <a:lumMod val="20000"/>
                  <a:lumOff val="80000"/>
                </a:schemeClr>
              </a:solidFill>
              <a:prstDash val="solid"/>
              <a:miter lim="800000"/>
              <a:headEnd type="oval"/>
            </a:ln>
            <a:effectLst/>
          </p:spPr>
        </p:cxnSp>
        <p:cxnSp>
          <p:nvCxnSpPr>
            <p:cNvPr id="30" name="Straight Connector 29">
              <a:extLst>
                <a:ext uri="{FF2B5EF4-FFF2-40B4-BE49-F238E27FC236}">
                  <a16:creationId xmlns:a16="http://schemas.microsoft.com/office/drawing/2014/main" id="{FAE29020-A7E2-408C-8E8E-55DC165F91F1}"/>
                </a:ext>
              </a:extLst>
            </p:cNvPr>
            <p:cNvCxnSpPr/>
            <p:nvPr/>
          </p:nvCxnSpPr>
          <p:spPr>
            <a:xfrm flipV="1">
              <a:off x="2826736" y="4004431"/>
              <a:ext cx="0" cy="485325"/>
            </a:xfrm>
            <a:prstGeom prst="line">
              <a:avLst/>
            </a:prstGeom>
            <a:noFill/>
            <a:ln w="12700" cap="flat" cmpd="sng" algn="ctr">
              <a:solidFill>
                <a:schemeClr val="accent2">
                  <a:lumMod val="20000"/>
                  <a:lumOff val="80000"/>
                </a:schemeClr>
              </a:solidFill>
              <a:prstDash val="solid"/>
              <a:miter lim="800000"/>
              <a:headEnd type="oval"/>
            </a:ln>
            <a:effectLst/>
          </p:spPr>
        </p:cxnSp>
        <p:cxnSp>
          <p:nvCxnSpPr>
            <p:cNvPr id="31" name="Straight Connector 30">
              <a:extLst>
                <a:ext uri="{FF2B5EF4-FFF2-40B4-BE49-F238E27FC236}">
                  <a16:creationId xmlns:a16="http://schemas.microsoft.com/office/drawing/2014/main" id="{60B01CBF-B77A-4C1E-8391-BE816606BF58}"/>
                </a:ext>
              </a:extLst>
            </p:cNvPr>
            <p:cNvCxnSpPr/>
            <p:nvPr/>
          </p:nvCxnSpPr>
          <p:spPr>
            <a:xfrm flipV="1">
              <a:off x="6024838" y="4004431"/>
              <a:ext cx="0" cy="485325"/>
            </a:xfrm>
            <a:prstGeom prst="line">
              <a:avLst/>
            </a:prstGeom>
            <a:noFill/>
            <a:ln w="12700" cap="flat" cmpd="sng" algn="ctr">
              <a:solidFill>
                <a:schemeClr val="accent2">
                  <a:lumMod val="20000"/>
                  <a:lumOff val="80000"/>
                </a:schemeClr>
              </a:solidFill>
              <a:prstDash val="solid"/>
              <a:miter lim="800000"/>
              <a:headEnd type="oval"/>
            </a:ln>
            <a:effectLst/>
          </p:spPr>
        </p:cxnSp>
        <p:cxnSp>
          <p:nvCxnSpPr>
            <p:cNvPr id="32" name="Straight Connector 31">
              <a:extLst>
                <a:ext uri="{FF2B5EF4-FFF2-40B4-BE49-F238E27FC236}">
                  <a16:creationId xmlns:a16="http://schemas.microsoft.com/office/drawing/2014/main" id="{A9D7D71F-2BD3-46B7-9055-B5216E236CAF}"/>
                </a:ext>
              </a:extLst>
            </p:cNvPr>
            <p:cNvCxnSpPr/>
            <p:nvPr/>
          </p:nvCxnSpPr>
          <p:spPr>
            <a:xfrm flipV="1">
              <a:off x="9222940" y="4004431"/>
              <a:ext cx="0" cy="485325"/>
            </a:xfrm>
            <a:prstGeom prst="line">
              <a:avLst/>
            </a:prstGeom>
            <a:noFill/>
            <a:ln w="12700" cap="flat" cmpd="sng" algn="ctr">
              <a:solidFill>
                <a:schemeClr val="accent2">
                  <a:lumMod val="20000"/>
                  <a:lumOff val="80000"/>
                </a:schemeClr>
              </a:solidFill>
              <a:prstDash val="solid"/>
              <a:miter lim="800000"/>
              <a:headEnd type="oval"/>
            </a:ln>
            <a:effectLst/>
          </p:spPr>
        </p:cxnSp>
        <p:sp>
          <p:nvSpPr>
            <p:cNvPr id="33" name="Content Placeholder 2">
              <a:extLst>
                <a:ext uri="{FF2B5EF4-FFF2-40B4-BE49-F238E27FC236}">
                  <a16:creationId xmlns:a16="http://schemas.microsoft.com/office/drawing/2014/main" id="{DBDAC750-0091-44D6-8F6B-43F2DF67A8F4}"/>
                </a:ext>
              </a:extLst>
            </p:cNvPr>
            <p:cNvSpPr txBox="1">
              <a:spLocks/>
            </p:cNvSpPr>
            <p:nvPr/>
          </p:nvSpPr>
          <p:spPr>
            <a:xfrm>
              <a:off x="156812" y="2607095"/>
              <a:ext cx="2139238" cy="193899"/>
            </a:xfrm>
            <a:prstGeom prst="rect">
              <a:avLst/>
            </a:prstGeom>
          </p:spPr>
          <p:txBody>
            <a:bodyPr wrap="square" lIns="0" tIns="0" rIns="0" bIns="0" anchor="t">
              <a:spAutoFit/>
            </a:bodyPr>
            <a:lstStyle>
              <a:defPPr>
                <a:defRPr lang="id-ID"/>
              </a:defPPr>
              <a:lvl1pPr algn="ctr">
                <a:defRPr sz="1400">
                  <a:solidFill>
                    <a:schemeClr val="accent2"/>
                  </a:solidFill>
                  <a:latin typeface="Century Gothic" panose="020B0502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300"/>
                </a:spcAft>
                <a:buClrTx/>
                <a:buSzTx/>
                <a:buFontTx/>
                <a:buNone/>
                <a:tabLst/>
                <a:defRPr/>
              </a:pPr>
              <a:r>
                <a:rPr lang="en-US" dirty="0">
                  <a:solidFill>
                    <a:schemeClr val="tx1"/>
                  </a:solidFill>
                  <a:latin typeface="+mn-lt"/>
                </a:rPr>
                <a:t>Data Acquisition</a:t>
              </a:r>
              <a:endParaRPr kumimoji="0" lang="en-US" b="0" i="0" u="none" strike="noStrike" kern="1200" cap="none" spc="0" normalizeH="0" baseline="0" noProof="0" dirty="0">
                <a:ln>
                  <a:noFill/>
                </a:ln>
                <a:solidFill>
                  <a:schemeClr val="tx1"/>
                </a:solidFill>
                <a:effectLst/>
                <a:uLnTx/>
                <a:uFillTx/>
                <a:latin typeface="+mn-lt"/>
                <a:ea typeface="+mn-ea"/>
                <a:cs typeface="+mn-cs"/>
              </a:endParaRPr>
            </a:p>
          </p:txBody>
        </p:sp>
        <p:grpSp>
          <p:nvGrpSpPr>
            <p:cNvPr id="44" name="Group 43">
              <a:extLst>
                <a:ext uri="{FF2B5EF4-FFF2-40B4-BE49-F238E27FC236}">
                  <a16:creationId xmlns:a16="http://schemas.microsoft.com/office/drawing/2014/main" id="{46B7E22C-40BE-4D26-9440-E145F05713BC}"/>
                </a:ext>
              </a:extLst>
            </p:cNvPr>
            <p:cNvGrpSpPr/>
            <p:nvPr/>
          </p:nvGrpSpPr>
          <p:grpSpPr>
            <a:xfrm>
              <a:off x="1036794" y="1966452"/>
              <a:ext cx="379272" cy="360413"/>
              <a:chOff x="5465763" y="1358900"/>
              <a:chExt cx="287337" cy="273050"/>
            </a:xfrm>
            <a:solidFill>
              <a:schemeClr val="accent1"/>
            </a:solidFill>
          </p:grpSpPr>
          <p:sp>
            <p:nvSpPr>
              <p:cNvPr id="70" name="Freeform 567">
                <a:extLst>
                  <a:ext uri="{FF2B5EF4-FFF2-40B4-BE49-F238E27FC236}">
                    <a16:creationId xmlns:a16="http://schemas.microsoft.com/office/drawing/2014/main" id="{9FCD1C76-F33B-4CF0-A2F9-1AA257F10286}"/>
                  </a:ext>
                </a:extLst>
              </p:cNvPr>
              <p:cNvSpPr>
                <a:spLocks noEditPoints="1"/>
              </p:cNvSpPr>
              <p:nvPr/>
            </p:nvSpPr>
            <p:spPr bwMode="auto">
              <a:xfrm>
                <a:off x="5586413" y="1446213"/>
                <a:ext cx="76200" cy="76200"/>
              </a:xfrm>
              <a:custGeom>
                <a:avLst/>
                <a:gdLst>
                  <a:gd name="T0" fmla="*/ 106 w 241"/>
                  <a:gd name="T1" fmla="*/ 72 h 241"/>
                  <a:gd name="T2" fmla="*/ 108 w 241"/>
                  <a:gd name="T3" fmla="*/ 66 h 241"/>
                  <a:gd name="T4" fmla="*/ 112 w 241"/>
                  <a:gd name="T5" fmla="*/ 63 h 241"/>
                  <a:gd name="T6" fmla="*/ 117 w 241"/>
                  <a:gd name="T7" fmla="*/ 61 h 241"/>
                  <a:gd name="T8" fmla="*/ 124 w 241"/>
                  <a:gd name="T9" fmla="*/ 60 h 241"/>
                  <a:gd name="T10" fmla="*/ 129 w 241"/>
                  <a:gd name="T11" fmla="*/ 63 h 241"/>
                  <a:gd name="T12" fmla="*/ 133 w 241"/>
                  <a:gd name="T13" fmla="*/ 66 h 241"/>
                  <a:gd name="T14" fmla="*/ 136 w 241"/>
                  <a:gd name="T15" fmla="*/ 72 h 241"/>
                  <a:gd name="T16" fmla="*/ 136 w 241"/>
                  <a:gd name="T17" fmla="*/ 165 h 241"/>
                  <a:gd name="T18" fmla="*/ 134 w 241"/>
                  <a:gd name="T19" fmla="*/ 171 h 241"/>
                  <a:gd name="T20" fmla="*/ 131 w 241"/>
                  <a:gd name="T21" fmla="*/ 176 h 241"/>
                  <a:gd name="T22" fmla="*/ 126 w 241"/>
                  <a:gd name="T23" fmla="*/ 179 h 241"/>
                  <a:gd name="T24" fmla="*/ 121 w 241"/>
                  <a:gd name="T25" fmla="*/ 180 h 241"/>
                  <a:gd name="T26" fmla="*/ 115 w 241"/>
                  <a:gd name="T27" fmla="*/ 179 h 241"/>
                  <a:gd name="T28" fmla="*/ 110 w 241"/>
                  <a:gd name="T29" fmla="*/ 176 h 241"/>
                  <a:gd name="T30" fmla="*/ 107 w 241"/>
                  <a:gd name="T31" fmla="*/ 171 h 241"/>
                  <a:gd name="T32" fmla="*/ 106 w 241"/>
                  <a:gd name="T33" fmla="*/ 165 h 241"/>
                  <a:gd name="T34" fmla="*/ 121 w 241"/>
                  <a:gd name="T35" fmla="*/ 241 h 241"/>
                  <a:gd name="T36" fmla="*/ 145 w 241"/>
                  <a:gd name="T37" fmla="*/ 238 h 241"/>
                  <a:gd name="T38" fmla="*/ 168 w 241"/>
                  <a:gd name="T39" fmla="*/ 232 h 241"/>
                  <a:gd name="T40" fmla="*/ 188 w 241"/>
                  <a:gd name="T41" fmla="*/ 220 h 241"/>
                  <a:gd name="T42" fmla="*/ 205 w 241"/>
                  <a:gd name="T43" fmla="*/ 206 h 241"/>
                  <a:gd name="T44" fmla="*/ 220 w 241"/>
                  <a:gd name="T45" fmla="*/ 188 h 241"/>
                  <a:gd name="T46" fmla="*/ 231 w 241"/>
                  <a:gd name="T47" fmla="*/ 167 h 241"/>
                  <a:gd name="T48" fmla="*/ 238 w 241"/>
                  <a:gd name="T49" fmla="*/ 145 h 241"/>
                  <a:gd name="T50" fmla="*/ 241 w 241"/>
                  <a:gd name="T51" fmla="*/ 120 h 241"/>
                  <a:gd name="T52" fmla="*/ 238 w 241"/>
                  <a:gd name="T53" fmla="*/ 96 h 241"/>
                  <a:gd name="T54" fmla="*/ 231 w 241"/>
                  <a:gd name="T55" fmla="*/ 74 h 241"/>
                  <a:gd name="T56" fmla="*/ 220 w 241"/>
                  <a:gd name="T57" fmla="*/ 53 h 241"/>
                  <a:gd name="T58" fmla="*/ 205 w 241"/>
                  <a:gd name="T59" fmla="*/ 35 h 241"/>
                  <a:gd name="T60" fmla="*/ 188 w 241"/>
                  <a:gd name="T61" fmla="*/ 20 h 241"/>
                  <a:gd name="T62" fmla="*/ 168 w 241"/>
                  <a:gd name="T63" fmla="*/ 9 h 241"/>
                  <a:gd name="T64" fmla="*/ 145 w 241"/>
                  <a:gd name="T65" fmla="*/ 2 h 241"/>
                  <a:gd name="T66" fmla="*/ 121 w 241"/>
                  <a:gd name="T67" fmla="*/ 0 h 241"/>
                  <a:gd name="T68" fmla="*/ 96 w 241"/>
                  <a:gd name="T69" fmla="*/ 2 h 241"/>
                  <a:gd name="T70" fmla="*/ 73 w 241"/>
                  <a:gd name="T71" fmla="*/ 9 h 241"/>
                  <a:gd name="T72" fmla="*/ 53 w 241"/>
                  <a:gd name="T73" fmla="*/ 20 h 241"/>
                  <a:gd name="T74" fmla="*/ 36 w 241"/>
                  <a:gd name="T75" fmla="*/ 35 h 241"/>
                  <a:gd name="T76" fmla="*/ 21 w 241"/>
                  <a:gd name="T77" fmla="*/ 53 h 241"/>
                  <a:gd name="T78" fmla="*/ 10 w 241"/>
                  <a:gd name="T79" fmla="*/ 74 h 241"/>
                  <a:gd name="T80" fmla="*/ 3 w 241"/>
                  <a:gd name="T81" fmla="*/ 96 h 241"/>
                  <a:gd name="T82" fmla="*/ 0 w 241"/>
                  <a:gd name="T83" fmla="*/ 120 h 241"/>
                  <a:gd name="T84" fmla="*/ 3 w 241"/>
                  <a:gd name="T85" fmla="*/ 145 h 241"/>
                  <a:gd name="T86" fmla="*/ 10 w 241"/>
                  <a:gd name="T87" fmla="*/ 167 h 241"/>
                  <a:gd name="T88" fmla="*/ 21 w 241"/>
                  <a:gd name="T89" fmla="*/ 188 h 241"/>
                  <a:gd name="T90" fmla="*/ 36 w 241"/>
                  <a:gd name="T91" fmla="*/ 206 h 241"/>
                  <a:gd name="T92" fmla="*/ 53 w 241"/>
                  <a:gd name="T93" fmla="*/ 220 h 241"/>
                  <a:gd name="T94" fmla="*/ 73 w 241"/>
                  <a:gd name="T95" fmla="*/ 232 h 241"/>
                  <a:gd name="T96" fmla="*/ 96 w 241"/>
                  <a:gd name="T97" fmla="*/ 238 h 241"/>
                  <a:gd name="T98" fmla="*/ 121 w 241"/>
                  <a:gd name="T99"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1" h="241">
                    <a:moveTo>
                      <a:pt x="106" y="75"/>
                    </a:moveTo>
                    <a:lnTo>
                      <a:pt x="106" y="72"/>
                    </a:lnTo>
                    <a:lnTo>
                      <a:pt x="107" y="70"/>
                    </a:lnTo>
                    <a:lnTo>
                      <a:pt x="108" y="66"/>
                    </a:lnTo>
                    <a:lnTo>
                      <a:pt x="110" y="64"/>
                    </a:lnTo>
                    <a:lnTo>
                      <a:pt x="112" y="63"/>
                    </a:lnTo>
                    <a:lnTo>
                      <a:pt x="115" y="61"/>
                    </a:lnTo>
                    <a:lnTo>
                      <a:pt x="117" y="61"/>
                    </a:lnTo>
                    <a:lnTo>
                      <a:pt x="121" y="60"/>
                    </a:lnTo>
                    <a:lnTo>
                      <a:pt x="124" y="60"/>
                    </a:lnTo>
                    <a:lnTo>
                      <a:pt x="126" y="61"/>
                    </a:lnTo>
                    <a:lnTo>
                      <a:pt x="129" y="63"/>
                    </a:lnTo>
                    <a:lnTo>
                      <a:pt x="131" y="64"/>
                    </a:lnTo>
                    <a:lnTo>
                      <a:pt x="133" y="66"/>
                    </a:lnTo>
                    <a:lnTo>
                      <a:pt x="134" y="70"/>
                    </a:lnTo>
                    <a:lnTo>
                      <a:pt x="136" y="72"/>
                    </a:lnTo>
                    <a:lnTo>
                      <a:pt x="136" y="75"/>
                    </a:lnTo>
                    <a:lnTo>
                      <a:pt x="136" y="165"/>
                    </a:lnTo>
                    <a:lnTo>
                      <a:pt x="136" y="168"/>
                    </a:lnTo>
                    <a:lnTo>
                      <a:pt x="134" y="171"/>
                    </a:lnTo>
                    <a:lnTo>
                      <a:pt x="133" y="174"/>
                    </a:lnTo>
                    <a:lnTo>
                      <a:pt x="131" y="176"/>
                    </a:lnTo>
                    <a:lnTo>
                      <a:pt x="129" y="178"/>
                    </a:lnTo>
                    <a:lnTo>
                      <a:pt x="126" y="179"/>
                    </a:lnTo>
                    <a:lnTo>
                      <a:pt x="124" y="180"/>
                    </a:lnTo>
                    <a:lnTo>
                      <a:pt x="121" y="180"/>
                    </a:lnTo>
                    <a:lnTo>
                      <a:pt x="117" y="180"/>
                    </a:lnTo>
                    <a:lnTo>
                      <a:pt x="115" y="179"/>
                    </a:lnTo>
                    <a:lnTo>
                      <a:pt x="112" y="178"/>
                    </a:lnTo>
                    <a:lnTo>
                      <a:pt x="110" y="176"/>
                    </a:lnTo>
                    <a:lnTo>
                      <a:pt x="108" y="174"/>
                    </a:lnTo>
                    <a:lnTo>
                      <a:pt x="107" y="171"/>
                    </a:lnTo>
                    <a:lnTo>
                      <a:pt x="106" y="168"/>
                    </a:lnTo>
                    <a:lnTo>
                      <a:pt x="106" y="165"/>
                    </a:lnTo>
                    <a:lnTo>
                      <a:pt x="106" y="75"/>
                    </a:lnTo>
                    <a:close/>
                    <a:moveTo>
                      <a:pt x="121" y="241"/>
                    </a:moveTo>
                    <a:lnTo>
                      <a:pt x="132" y="240"/>
                    </a:lnTo>
                    <a:lnTo>
                      <a:pt x="145" y="238"/>
                    </a:lnTo>
                    <a:lnTo>
                      <a:pt x="156" y="236"/>
                    </a:lnTo>
                    <a:lnTo>
                      <a:pt x="168" y="232"/>
                    </a:lnTo>
                    <a:lnTo>
                      <a:pt x="177" y="226"/>
                    </a:lnTo>
                    <a:lnTo>
                      <a:pt x="188" y="220"/>
                    </a:lnTo>
                    <a:lnTo>
                      <a:pt x="197" y="213"/>
                    </a:lnTo>
                    <a:lnTo>
                      <a:pt x="205" y="206"/>
                    </a:lnTo>
                    <a:lnTo>
                      <a:pt x="214" y="197"/>
                    </a:lnTo>
                    <a:lnTo>
                      <a:pt x="220" y="188"/>
                    </a:lnTo>
                    <a:lnTo>
                      <a:pt x="227" y="178"/>
                    </a:lnTo>
                    <a:lnTo>
                      <a:pt x="231" y="167"/>
                    </a:lnTo>
                    <a:lnTo>
                      <a:pt x="235" y="156"/>
                    </a:lnTo>
                    <a:lnTo>
                      <a:pt x="238" y="145"/>
                    </a:lnTo>
                    <a:lnTo>
                      <a:pt x="241" y="133"/>
                    </a:lnTo>
                    <a:lnTo>
                      <a:pt x="241" y="120"/>
                    </a:lnTo>
                    <a:lnTo>
                      <a:pt x="241" y="108"/>
                    </a:lnTo>
                    <a:lnTo>
                      <a:pt x="238" y="96"/>
                    </a:lnTo>
                    <a:lnTo>
                      <a:pt x="235" y="85"/>
                    </a:lnTo>
                    <a:lnTo>
                      <a:pt x="231" y="74"/>
                    </a:lnTo>
                    <a:lnTo>
                      <a:pt x="227" y="63"/>
                    </a:lnTo>
                    <a:lnTo>
                      <a:pt x="220" y="53"/>
                    </a:lnTo>
                    <a:lnTo>
                      <a:pt x="214" y="44"/>
                    </a:lnTo>
                    <a:lnTo>
                      <a:pt x="205" y="35"/>
                    </a:lnTo>
                    <a:lnTo>
                      <a:pt x="197" y="28"/>
                    </a:lnTo>
                    <a:lnTo>
                      <a:pt x="188" y="20"/>
                    </a:lnTo>
                    <a:lnTo>
                      <a:pt x="177" y="15"/>
                    </a:lnTo>
                    <a:lnTo>
                      <a:pt x="168" y="9"/>
                    </a:lnTo>
                    <a:lnTo>
                      <a:pt x="156" y="5"/>
                    </a:lnTo>
                    <a:lnTo>
                      <a:pt x="145" y="2"/>
                    </a:lnTo>
                    <a:lnTo>
                      <a:pt x="132" y="1"/>
                    </a:lnTo>
                    <a:lnTo>
                      <a:pt x="121" y="0"/>
                    </a:lnTo>
                    <a:lnTo>
                      <a:pt x="109" y="1"/>
                    </a:lnTo>
                    <a:lnTo>
                      <a:pt x="96" y="2"/>
                    </a:lnTo>
                    <a:lnTo>
                      <a:pt x="85" y="5"/>
                    </a:lnTo>
                    <a:lnTo>
                      <a:pt x="73" y="9"/>
                    </a:lnTo>
                    <a:lnTo>
                      <a:pt x="64" y="15"/>
                    </a:lnTo>
                    <a:lnTo>
                      <a:pt x="53" y="20"/>
                    </a:lnTo>
                    <a:lnTo>
                      <a:pt x="44" y="28"/>
                    </a:lnTo>
                    <a:lnTo>
                      <a:pt x="36" y="35"/>
                    </a:lnTo>
                    <a:lnTo>
                      <a:pt x="27" y="44"/>
                    </a:lnTo>
                    <a:lnTo>
                      <a:pt x="21" y="53"/>
                    </a:lnTo>
                    <a:lnTo>
                      <a:pt x="14" y="63"/>
                    </a:lnTo>
                    <a:lnTo>
                      <a:pt x="10" y="74"/>
                    </a:lnTo>
                    <a:lnTo>
                      <a:pt x="6" y="85"/>
                    </a:lnTo>
                    <a:lnTo>
                      <a:pt x="3" y="96"/>
                    </a:lnTo>
                    <a:lnTo>
                      <a:pt x="0" y="108"/>
                    </a:lnTo>
                    <a:lnTo>
                      <a:pt x="0" y="120"/>
                    </a:lnTo>
                    <a:lnTo>
                      <a:pt x="0" y="133"/>
                    </a:lnTo>
                    <a:lnTo>
                      <a:pt x="3" y="145"/>
                    </a:lnTo>
                    <a:lnTo>
                      <a:pt x="6" y="156"/>
                    </a:lnTo>
                    <a:lnTo>
                      <a:pt x="10" y="167"/>
                    </a:lnTo>
                    <a:lnTo>
                      <a:pt x="14" y="178"/>
                    </a:lnTo>
                    <a:lnTo>
                      <a:pt x="21" y="188"/>
                    </a:lnTo>
                    <a:lnTo>
                      <a:pt x="27" y="197"/>
                    </a:lnTo>
                    <a:lnTo>
                      <a:pt x="36" y="206"/>
                    </a:lnTo>
                    <a:lnTo>
                      <a:pt x="44" y="213"/>
                    </a:lnTo>
                    <a:lnTo>
                      <a:pt x="53" y="220"/>
                    </a:lnTo>
                    <a:lnTo>
                      <a:pt x="64" y="226"/>
                    </a:lnTo>
                    <a:lnTo>
                      <a:pt x="73" y="232"/>
                    </a:lnTo>
                    <a:lnTo>
                      <a:pt x="85" y="236"/>
                    </a:lnTo>
                    <a:lnTo>
                      <a:pt x="96" y="238"/>
                    </a:lnTo>
                    <a:lnTo>
                      <a:pt x="109" y="240"/>
                    </a:lnTo>
                    <a:lnTo>
                      <a:pt x="121"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71" name="Freeform 568">
                <a:extLst>
                  <a:ext uri="{FF2B5EF4-FFF2-40B4-BE49-F238E27FC236}">
                    <a16:creationId xmlns:a16="http://schemas.microsoft.com/office/drawing/2014/main" id="{EF6D8185-A903-4049-94AB-4E103EE87C22}"/>
                  </a:ext>
                </a:extLst>
              </p:cNvPr>
              <p:cNvSpPr>
                <a:spLocks noEditPoints="1"/>
              </p:cNvSpPr>
              <p:nvPr/>
            </p:nvSpPr>
            <p:spPr bwMode="auto">
              <a:xfrm>
                <a:off x="5643563" y="1358900"/>
                <a:ext cx="76200" cy="77788"/>
              </a:xfrm>
              <a:custGeom>
                <a:avLst/>
                <a:gdLst>
                  <a:gd name="T0" fmla="*/ 106 w 241"/>
                  <a:gd name="T1" fmla="*/ 73 h 242"/>
                  <a:gd name="T2" fmla="*/ 108 w 241"/>
                  <a:gd name="T3" fmla="*/ 68 h 242"/>
                  <a:gd name="T4" fmla="*/ 112 w 241"/>
                  <a:gd name="T5" fmla="*/ 64 h 242"/>
                  <a:gd name="T6" fmla="*/ 118 w 241"/>
                  <a:gd name="T7" fmla="*/ 62 h 242"/>
                  <a:gd name="T8" fmla="*/ 123 w 241"/>
                  <a:gd name="T9" fmla="*/ 62 h 242"/>
                  <a:gd name="T10" fmla="*/ 128 w 241"/>
                  <a:gd name="T11" fmla="*/ 64 h 242"/>
                  <a:gd name="T12" fmla="*/ 133 w 241"/>
                  <a:gd name="T13" fmla="*/ 68 h 242"/>
                  <a:gd name="T14" fmla="*/ 135 w 241"/>
                  <a:gd name="T15" fmla="*/ 73 h 242"/>
                  <a:gd name="T16" fmla="*/ 135 w 241"/>
                  <a:gd name="T17" fmla="*/ 167 h 242"/>
                  <a:gd name="T18" fmla="*/ 134 w 241"/>
                  <a:gd name="T19" fmla="*/ 172 h 242"/>
                  <a:gd name="T20" fmla="*/ 130 w 241"/>
                  <a:gd name="T21" fmla="*/ 177 h 242"/>
                  <a:gd name="T22" fmla="*/ 126 w 241"/>
                  <a:gd name="T23" fmla="*/ 181 h 242"/>
                  <a:gd name="T24" fmla="*/ 120 w 241"/>
                  <a:gd name="T25" fmla="*/ 182 h 242"/>
                  <a:gd name="T26" fmla="*/ 114 w 241"/>
                  <a:gd name="T27" fmla="*/ 181 h 242"/>
                  <a:gd name="T28" fmla="*/ 110 w 241"/>
                  <a:gd name="T29" fmla="*/ 177 h 242"/>
                  <a:gd name="T30" fmla="*/ 107 w 241"/>
                  <a:gd name="T31" fmla="*/ 172 h 242"/>
                  <a:gd name="T32" fmla="*/ 105 w 241"/>
                  <a:gd name="T33" fmla="*/ 167 h 242"/>
                  <a:gd name="T34" fmla="*/ 120 w 241"/>
                  <a:gd name="T35" fmla="*/ 242 h 242"/>
                  <a:gd name="T36" fmla="*/ 144 w 241"/>
                  <a:gd name="T37" fmla="*/ 240 h 242"/>
                  <a:gd name="T38" fmla="*/ 167 w 241"/>
                  <a:gd name="T39" fmla="*/ 232 h 242"/>
                  <a:gd name="T40" fmla="*/ 187 w 241"/>
                  <a:gd name="T41" fmla="*/ 221 h 242"/>
                  <a:gd name="T42" fmla="*/ 206 w 241"/>
                  <a:gd name="T43" fmla="*/ 206 h 242"/>
                  <a:gd name="T44" fmla="*/ 221 w 241"/>
                  <a:gd name="T45" fmla="*/ 188 h 242"/>
                  <a:gd name="T46" fmla="*/ 231 w 241"/>
                  <a:gd name="T47" fmla="*/ 168 h 242"/>
                  <a:gd name="T48" fmla="*/ 238 w 241"/>
                  <a:gd name="T49" fmla="*/ 145 h 242"/>
                  <a:gd name="T50" fmla="*/ 241 w 241"/>
                  <a:gd name="T51" fmla="*/ 122 h 242"/>
                  <a:gd name="T52" fmla="*/ 238 w 241"/>
                  <a:gd name="T53" fmla="*/ 97 h 242"/>
                  <a:gd name="T54" fmla="*/ 231 w 241"/>
                  <a:gd name="T55" fmla="*/ 74 h 242"/>
                  <a:gd name="T56" fmla="*/ 221 w 241"/>
                  <a:gd name="T57" fmla="*/ 54 h 242"/>
                  <a:gd name="T58" fmla="*/ 206 w 241"/>
                  <a:gd name="T59" fmla="*/ 36 h 242"/>
                  <a:gd name="T60" fmla="*/ 187 w 241"/>
                  <a:gd name="T61" fmla="*/ 22 h 242"/>
                  <a:gd name="T62" fmla="*/ 167 w 241"/>
                  <a:gd name="T63" fmla="*/ 10 h 242"/>
                  <a:gd name="T64" fmla="*/ 144 w 241"/>
                  <a:gd name="T65" fmla="*/ 4 h 242"/>
                  <a:gd name="T66" fmla="*/ 120 w 241"/>
                  <a:gd name="T67" fmla="*/ 0 h 242"/>
                  <a:gd name="T68" fmla="*/ 96 w 241"/>
                  <a:gd name="T69" fmla="*/ 4 h 242"/>
                  <a:gd name="T70" fmla="*/ 74 w 241"/>
                  <a:gd name="T71" fmla="*/ 10 h 242"/>
                  <a:gd name="T72" fmla="*/ 53 w 241"/>
                  <a:gd name="T73" fmla="*/ 22 h 242"/>
                  <a:gd name="T74" fmla="*/ 35 w 241"/>
                  <a:gd name="T75" fmla="*/ 36 h 242"/>
                  <a:gd name="T76" fmla="*/ 20 w 241"/>
                  <a:gd name="T77" fmla="*/ 54 h 242"/>
                  <a:gd name="T78" fmla="*/ 9 w 241"/>
                  <a:gd name="T79" fmla="*/ 74 h 242"/>
                  <a:gd name="T80" fmla="*/ 2 w 241"/>
                  <a:gd name="T81" fmla="*/ 97 h 242"/>
                  <a:gd name="T82" fmla="*/ 0 w 241"/>
                  <a:gd name="T83" fmla="*/ 122 h 242"/>
                  <a:gd name="T84" fmla="*/ 2 w 241"/>
                  <a:gd name="T85" fmla="*/ 145 h 242"/>
                  <a:gd name="T86" fmla="*/ 9 w 241"/>
                  <a:gd name="T87" fmla="*/ 168 h 242"/>
                  <a:gd name="T88" fmla="*/ 20 w 241"/>
                  <a:gd name="T89" fmla="*/ 188 h 242"/>
                  <a:gd name="T90" fmla="*/ 35 w 241"/>
                  <a:gd name="T91" fmla="*/ 206 h 242"/>
                  <a:gd name="T92" fmla="*/ 53 w 241"/>
                  <a:gd name="T93" fmla="*/ 221 h 242"/>
                  <a:gd name="T94" fmla="*/ 74 w 241"/>
                  <a:gd name="T95" fmla="*/ 232 h 242"/>
                  <a:gd name="T96" fmla="*/ 96 w 241"/>
                  <a:gd name="T97" fmla="*/ 240 h 242"/>
                  <a:gd name="T98" fmla="*/ 120 w 241"/>
                  <a:gd name="T99"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1" h="242">
                    <a:moveTo>
                      <a:pt x="105" y="77"/>
                    </a:moveTo>
                    <a:lnTo>
                      <a:pt x="106" y="73"/>
                    </a:lnTo>
                    <a:lnTo>
                      <a:pt x="107" y="70"/>
                    </a:lnTo>
                    <a:lnTo>
                      <a:pt x="108" y="68"/>
                    </a:lnTo>
                    <a:lnTo>
                      <a:pt x="110" y="66"/>
                    </a:lnTo>
                    <a:lnTo>
                      <a:pt x="112" y="64"/>
                    </a:lnTo>
                    <a:lnTo>
                      <a:pt x="114" y="63"/>
                    </a:lnTo>
                    <a:lnTo>
                      <a:pt x="118" y="62"/>
                    </a:lnTo>
                    <a:lnTo>
                      <a:pt x="120" y="62"/>
                    </a:lnTo>
                    <a:lnTo>
                      <a:pt x="123" y="62"/>
                    </a:lnTo>
                    <a:lnTo>
                      <a:pt x="126" y="63"/>
                    </a:lnTo>
                    <a:lnTo>
                      <a:pt x="128" y="64"/>
                    </a:lnTo>
                    <a:lnTo>
                      <a:pt x="130" y="66"/>
                    </a:lnTo>
                    <a:lnTo>
                      <a:pt x="133" y="68"/>
                    </a:lnTo>
                    <a:lnTo>
                      <a:pt x="134" y="70"/>
                    </a:lnTo>
                    <a:lnTo>
                      <a:pt x="135" y="73"/>
                    </a:lnTo>
                    <a:lnTo>
                      <a:pt x="135" y="77"/>
                    </a:lnTo>
                    <a:lnTo>
                      <a:pt x="135" y="167"/>
                    </a:lnTo>
                    <a:lnTo>
                      <a:pt x="135" y="170"/>
                    </a:lnTo>
                    <a:lnTo>
                      <a:pt x="134" y="172"/>
                    </a:lnTo>
                    <a:lnTo>
                      <a:pt x="133" y="175"/>
                    </a:lnTo>
                    <a:lnTo>
                      <a:pt x="130" y="177"/>
                    </a:lnTo>
                    <a:lnTo>
                      <a:pt x="128" y="178"/>
                    </a:lnTo>
                    <a:lnTo>
                      <a:pt x="126" y="181"/>
                    </a:lnTo>
                    <a:lnTo>
                      <a:pt x="123" y="182"/>
                    </a:lnTo>
                    <a:lnTo>
                      <a:pt x="120" y="182"/>
                    </a:lnTo>
                    <a:lnTo>
                      <a:pt x="118" y="182"/>
                    </a:lnTo>
                    <a:lnTo>
                      <a:pt x="114" y="181"/>
                    </a:lnTo>
                    <a:lnTo>
                      <a:pt x="112" y="178"/>
                    </a:lnTo>
                    <a:lnTo>
                      <a:pt x="110" y="177"/>
                    </a:lnTo>
                    <a:lnTo>
                      <a:pt x="108" y="175"/>
                    </a:lnTo>
                    <a:lnTo>
                      <a:pt x="107" y="172"/>
                    </a:lnTo>
                    <a:lnTo>
                      <a:pt x="106" y="170"/>
                    </a:lnTo>
                    <a:lnTo>
                      <a:pt x="105" y="167"/>
                    </a:lnTo>
                    <a:lnTo>
                      <a:pt x="105" y="77"/>
                    </a:lnTo>
                    <a:close/>
                    <a:moveTo>
                      <a:pt x="120" y="242"/>
                    </a:moveTo>
                    <a:lnTo>
                      <a:pt x="133" y="241"/>
                    </a:lnTo>
                    <a:lnTo>
                      <a:pt x="144" y="240"/>
                    </a:lnTo>
                    <a:lnTo>
                      <a:pt x="156" y="236"/>
                    </a:lnTo>
                    <a:lnTo>
                      <a:pt x="167" y="232"/>
                    </a:lnTo>
                    <a:lnTo>
                      <a:pt x="178" y="227"/>
                    </a:lnTo>
                    <a:lnTo>
                      <a:pt x="187" y="221"/>
                    </a:lnTo>
                    <a:lnTo>
                      <a:pt x="197" y="214"/>
                    </a:lnTo>
                    <a:lnTo>
                      <a:pt x="206" y="206"/>
                    </a:lnTo>
                    <a:lnTo>
                      <a:pt x="213" y="198"/>
                    </a:lnTo>
                    <a:lnTo>
                      <a:pt x="221" y="188"/>
                    </a:lnTo>
                    <a:lnTo>
                      <a:pt x="226" y="178"/>
                    </a:lnTo>
                    <a:lnTo>
                      <a:pt x="231" y="168"/>
                    </a:lnTo>
                    <a:lnTo>
                      <a:pt x="236" y="157"/>
                    </a:lnTo>
                    <a:lnTo>
                      <a:pt x="238" y="145"/>
                    </a:lnTo>
                    <a:lnTo>
                      <a:pt x="240" y="133"/>
                    </a:lnTo>
                    <a:lnTo>
                      <a:pt x="241" y="122"/>
                    </a:lnTo>
                    <a:lnTo>
                      <a:pt x="240" y="109"/>
                    </a:lnTo>
                    <a:lnTo>
                      <a:pt x="238" y="97"/>
                    </a:lnTo>
                    <a:lnTo>
                      <a:pt x="236" y="85"/>
                    </a:lnTo>
                    <a:lnTo>
                      <a:pt x="231" y="74"/>
                    </a:lnTo>
                    <a:lnTo>
                      <a:pt x="226" y="64"/>
                    </a:lnTo>
                    <a:lnTo>
                      <a:pt x="221" y="54"/>
                    </a:lnTo>
                    <a:lnTo>
                      <a:pt x="213" y="44"/>
                    </a:lnTo>
                    <a:lnTo>
                      <a:pt x="206" y="36"/>
                    </a:lnTo>
                    <a:lnTo>
                      <a:pt x="197" y="28"/>
                    </a:lnTo>
                    <a:lnTo>
                      <a:pt x="187" y="22"/>
                    </a:lnTo>
                    <a:lnTo>
                      <a:pt x="178" y="15"/>
                    </a:lnTo>
                    <a:lnTo>
                      <a:pt x="167" y="10"/>
                    </a:lnTo>
                    <a:lnTo>
                      <a:pt x="156" y="7"/>
                    </a:lnTo>
                    <a:lnTo>
                      <a:pt x="144" y="4"/>
                    </a:lnTo>
                    <a:lnTo>
                      <a:pt x="133" y="2"/>
                    </a:lnTo>
                    <a:lnTo>
                      <a:pt x="120" y="0"/>
                    </a:lnTo>
                    <a:lnTo>
                      <a:pt x="108" y="2"/>
                    </a:lnTo>
                    <a:lnTo>
                      <a:pt x="96" y="4"/>
                    </a:lnTo>
                    <a:lnTo>
                      <a:pt x="84" y="6"/>
                    </a:lnTo>
                    <a:lnTo>
                      <a:pt x="74" y="10"/>
                    </a:lnTo>
                    <a:lnTo>
                      <a:pt x="63" y="15"/>
                    </a:lnTo>
                    <a:lnTo>
                      <a:pt x="53" y="22"/>
                    </a:lnTo>
                    <a:lnTo>
                      <a:pt x="44" y="28"/>
                    </a:lnTo>
                    <a:lnTo>
                      <a:pt x="35" y="36"/>
                    </a:lnTo>
                    <a:lnTo>
                      <a:pt x="27" y="44"/>
                    </a:lnTo>
                    <a:lnTo>
                      <a:pt x="20" y="54"/>
                    </a:lnTo>
                    <a:lnTo>
                      <a:pt x="15" y="64"/>
                    </a:lnTo>
                    <a:lnTo>
                      <a:pt x="9" y="74"/>
                    </a:lnTo>
                    <a:lnTo>
                      <a:pt x="5" y="85"/>
                    </a:lnTo>
                    <a:lnTo>
                      <a:pt x="2" y="97"/>
                    </a:lnTo>
                    <a:lnTo>
                      <a:pt x="1" y="109"/>
                    </a:lnTo>
                    <a:lnTo>
                      <a:pt x="0" y="122"/>
                    </a:lnTo>
                    <a:lnTo>
                      <a:pt x="1" y="133"/>
                    </a:lnTo>
                    <a:lnTo>
                      <a:pt x="2" y="145"/>
                    </a:lnTo>
                    <a:lnTo>
                      <a:pt x="5" y="157"/>
                    </a:lnTo>
                    <a:lnTo>
                      <a:pt x="9" y="168"/>
                    </a:lnTo>
                    <a:lnTo>
                      <a:pt x="15" y="178"/>
                    </a:lnTo>
                    <a:lnTo>
                      <a:pt x="20" y="188"/>
                    </a:lnTo>
                    <a:lnTo>
                      <a:pt x="27" y="198"/>
                    </a:lnTo>
                    <a:lnTo>
                      <a:pt x="35" y="206"/>
                    </a:lnTo>
                    <a:lnTo>
                      <a:pt x="44" y="214"/>
                    </a:lnTo>
                    <a:lnTo>
                      <a:pt x="53" y="221"/>
                    </a:lnTo>
                    <a:lnTo>
                      <a:pt x="63" y="227"/>
                    </a:lnTo>
                    <a:lnTo>
                      <a:pt x="74" y="232"/>
                    </a:lnTo>
                    <a:lnTo>
                      <a:pt x="84" y="236"/>
                    </a:lnTo>
                    <a:lnTo>
                      <a:pt x="96" y="240"/>
                    </a:lnTo>
                    <a:lnTo>
                      <a:pt x="108" y="241"/>
                    </a:lnTo>
                    <a:lnTo>
                      <a:pt x="120"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72" name="Freeform 569">
                <a:extLst>
                  <a:ext uri="{FF2B5EF4-FFF2-40B4-BE49-F238E27FC236}">
                    <a16:creationId xmlns:a16="http://schemas.microsoft.com/office/drawing/2014/main" id="{5446D7B6-8208-48C2-9958-A37755FFEAE0}"/>
                  </a:ext>
                </a:extLst>
              </p:cNvPr>
              <p:cNvSpPr>
                <a:spLocks/>
              </p:cNvSpPr>
              <p:nvPr/>
            </p:nvSpPr>
            <p:spPr bwMode="auto">
              <a:xfrm>
                <a:off x="5465763" y="1517650"/>
                <a:ext cx="57150" cy="95250"/>
              </a:xfrm>
              <a:custGeom>
                <a:avLst/>
                <a:gdLst>
                  <a:gd name="T0" fmla="*/ 165 w 180"/>
                  <a:gd name="T1" fmla="*/ 0 h 302"/>
                  <a:gd name="T2" fmla="*/ 15 w 180"/>
                  <a:gd name="T3" fmla="*/ 0 h 302"/>
                  <a:gd name="T4" fmla="*/ 12 w 180"/>
                  <a:gd name="T5" fmla="*/ 0 h 302"/>
                  <a:gd name="T6" fmla="*/ 9 w 180"/>
                  <a:gd name="T7" fmla="*/ 1 h 302"/>
                  <a:gd name="T8" fmla="*/ 6 w 180"/>
                  <a:gd name="T9" fmla="*/ 2 h 302"/>
                  <a:gd name="T10" fmla="*/ 4 w 180"/>
                  <a:gd name="T11" fmla="*/ 4 h 302"/>
                  <a:gd name="T12" fmla="*/ 2 w 180"/>
                  <a:gd name="T13" fmla="*/ 7 h 302"/>
                  <a:gd name="T14" fmla="*/ 1 w 180"/>
                  <a:gd name="T15" fmla="*/ 9 h 302"/>
                  <a:gd name="T16" fmla="*/ 0 w 180"/>
                  <a:gd name="T17" fmla="*/ 12 h 302"/>
                  <a:gd name="T18" fmla="*/ 0 w 180"/>
                  <a:gd name="T19" fmla="*/ 15 h 302"/>
                  <a:gd name="T20" fmla="*/ 0 w 180"/>
                  <a:gd name="T21" fmla="*/ 287 h 302"/>
                  <a:gd name="T22" fmla="*/ 0 w 180"/>
                  <a:gd name="T23" fmla="*/ 289 h 302"/>
                  <a:gd name="T24" fmla="*/ 1 w 180"/>
                  <a:gd name="T25" fmla="*/ 292 h 302"/>
                  <a:gd name="T26" fmla="*/ 2 w 180"/>
                  <a:gd name="T27" fmla="*/ 294 h 302"/>
                  <a:gd name="T28" fmla="*/ 4 w 180"/>
                  <a:gd name="T29" fmla="*/ 296 h 302"/>
                  <a:gd name="T30" fmla="*/ 6 w 180"/>
                  <a:gd name="T31" fmla="*/ 298 h 302"/>
                  <a:gd name="T32" fmla="*/ 9 w 180"/>
                  <a:gd name="T33" fmla="*/ 299 h 302"/>
                  <a:gd name="T34" fmla="*/ 12 w 180"/>
                  <a:gd name="T35" fmla="*/ 301 h 302"/>
                  <a:gd name="T36" fmla="*/ 15 w 180"/>
                  <a:gd name="T37" fmla="*/ 302 h 302"/>
                  <a:gd name="T38" fmla="*/ 165 w 180"/>
                  <a:gd name="T39" fmla="*/ 302 h 302"/>
                  <a:gd name="T40" fmla="*/ 168 w 180"/>
                  <a:gd name="T41" fmla="*/ 301 h 302"/>
                  <a:gd name="T42" fmla="*/ 172 w 180"/>
                  <a:gd name="T43" fmla="*/ 299 h 302"/>
                  <a:gd name="T44" fmla="*/ 174 w 180"/>
                  <a:gd name="T45" fmla="*/ 298 h 302"/>
                  <a:gd name="T46" fmla="*/ 176 w 180"/>
                  <a:gd name="T47" fmla="*/ 296 h 302"/>
                  <a:gd name="T48" fmla="*/ 178 w 180"/>
                  <a:gd name="T49" fmla="*/ 294 h 302"/>
                  <a:gd name="T50" fmla="*/ 179 w 180"/>
                  <a:gd name="T51" fmla="*/ 292 h 302"/>
                  <a:gd name="T52" fmla="*/ 180 w 180"/>
                  <a:gd name="T53" fmla="*/ 289 h 302"/>
                  <a:gd name="T54" fmla="*/ 180 w 180"/>
                  <a:gd name="T55" fmla="*/ 287 h 302"/>
                  <a:gd name="T56" fmla="*/ 180 w 180"/>
                  <a:gd name="T57" fmla="*/ 15 h 302"/>
                  <a:gd name="T58" fmla="*/ 180 w 180"/>
                  <a:gd name="T59" fmla="*/ 12 h 302"/>
                  <a:gd name="T60" fmla="*/ 179 w 180"/>
                  <a:gd name="T61" fmla="*/ 9 h 302"/>
                  <a:gd name="T62" fmla="*/ 178 w 180"/>
                  <a:gd name="T63" fmla="*/ 7 h 302"/>
                  <a:gd name="T64" fmla="*/ 176 w 180"/>
                  <a:gd name="T65" fmla="*/ 4 h 302"/>
                  <a:gd name="T66" fmla="*/ 174 w 180"/>
                  <a:gd name="T67" fmla="*/ 2 h 302"/>
                  <a:gd name="T68" fmla="*/ 172 w 180"/>
                  <a:gd name="T69" fmla="*/ 1 h 302"/>
                  <a:gd name="T70" fmla="*/ 168 w 180"/>
                  <a:gd name="T71" fmla="*/ 0 h 302"/>
                  <a:gd name="T72" fmla="*/ 165 w 180"/>
                  <a:gd name="T73"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0" h="302">
                    <a:moveTo>
                      <a:pt x="165" y="0"/>
                    </a:moveTo>
                    <a:lnTo>
                      <a:pt x="15" y="0"/>
                    </a:lnTo>
                    <a:lnTo>
                      <a:pt x="12" y="0"/>
                    </a:lnTo>
                    <a:lnTo>
                      <a:pt x="9" y="1"/>
                    </a:lnTo>
                    <a:lnTo>
                      <a:pt x="6" y="2"/>
                    </a:lnTo>
                    <a:lnTo>
                      <a:pt x="4" y="4"/>
                    </a:lnTo>
                    <a:lnTo>
                      <a:pt x="2" y="7"/>
                    </a:lnTo>
                    <a:lnTo>
                      <a:pt x="1" y="9"/>
                    </a:lnTo>
                    <a:lnTo>
                      <a:pt x="0" y="12"/>
                    </a:lnTo>
                    <a:lnTo>
                      <a:pt x="0" y="15"/>
                    </a:lnTo>
                    <a:lnTo>
                      <a:pt x="0" y="287"/>
                    </a:lnTo>
                    <a:lnTo>
                      <a:pt x="0" y="289"/>
                    </a:lnTo>
                    <a:lnTo>
                      <a:pt x="1" y="292"/>
                    </a:lnTo>
                    <a:lnTo>
                      <a:pt x="2" y="294"/>
                    </a:lnTo>
                    <a:lnTo>
                      <a:pt x="4" y="296"/>
                    </a:lnTo>
                    <a:lnTo>
                      <a:pt x="6" y="298"/>
                    </a:lnTo>
                    <a:lnTo>
                      <a:pt x="9" y="299"/>
                    </a:lnTo>
                    <a:lnTo>
                      <a:pt x="12" y="301"/>
                    </a:lnTo>
                    <a:lnTo>
                      <a:pt x="15" y="302"/>
                    </a:lnTo>
                    <a:lnTo>
                      <a:pt x="165" y="302"/>
                    </a:lnTo>
                    <a:lnTo>
                      <a:pt x="168" y="301"/>
                    </a:lnTo>
                    <a:lnTo>
                      <a:pt x="172" y="299"/>
                    </a:lnTo>
                    <a:lnTo>
                      <a:pt x="174" y="298"/>
                    </a:lnTo>
                    <a:lnTo>
                      <a:pt x="176" y="296"/>
                    </a:lnTo>
                    <a:lnTo>
                      <a:pt x="178" y="294"/>
                    </a:lnTo>
                    <a:lnTo>
                      <a:pt x="179" y="292"/>
                    </a:lnTo>
                    <a:lnTo>
                      <a:pt x="180" y="289"/>
                    </a:lnTo>
                    <a:lnTo>
                      <a:pt x="180" y="287"/>
                    </a:lnTo>
                    <a:lnTo>
                      <a:pt x="180" y="15"/>
                    </a:lnTo>
                    <a:lnTo>
                      <a:pt x="180" y="12"/>
                    </a:lnTo>
                    <a:lnTo>
                      <a:pt x="179" y="9"/>
                    </a:lnTo>
                    <a:lnTo>
                      <a:pt x="178" y="7"/>
                    </a:lnTo>
                    <a:lnTo>
                      <a:pt x="176" y="4"/>
                    </a:lnTo>
                    <a:lnTo>
                      <a:pt x="174" y="2"/>
                    </a:lnTo>
                    <a:lnTo>
                      <a:pt x="172" y="1"/>
                    </a:lnTo>
                    <a:lnTo>
                      <a:pt x="168" y="0"/>
                    </a:lnTo>
                    <a:lnTo>
                      <a:pt x="1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73" name="Freeform 570">
                <a:extLst>
                  <a:ext uri="{FF2B5EF4-FFF2-40B4-BE49-F238E27FC236}">
                    <a16:creationId xmlns:a16="http://schemas.microsoft.com/office/drawing/2014/main" id="{B37A71C9-B99B-4829-84B1-46806FD3F05C}"/>
                  </a:ext>
                </a:extLst>
              </p:cNvPr>
              <p:cNvSpPr>
                <a:spLocks/>
              </p:cNvSpPr>
              <p:nvPr/>
            </p:nvSpPr>
            <p:spPr bwMode="auto">
              <a:xfrm>
                <a:off x="5527675" y="1527175"/>
                <a:ext cx="225425" cy="104775"/>
              </a:xfrm>
              <a:custGeom>
                <a:avLst/>
                <a:gdLst>
                  <a:gd name="T0" fmla="*/ 688 w 708"/>
                  <a:gd name="T1" fmla="*/ 110 h 331"/>
                  <a:gd name="T2" fmla="*/ 665 w 708"/>
                  <a:gd name="T3" fmla="*/ 95 h 331"/>
                  <a:gd name="T4" fmla="*/ 644 w 708"/>
                  <a:gd name="T5" fmla="*/ 87 h 331"/>
                  <a:gd name="T6" fmla="*/ 622 w 708"/>
                  <a:gd name="T7" fmla="*/ 85 h 331"/>
                  <a:gd name="T8" fmla="*/ 583 w 708"/>
                  <a:gd name="T9" fmla="*/ 91 h 331"/>
                  <a:gd name="T10" fmla="*/ 502 w 708"/>
                  <a:gd name="T11" fmla="*/ 137 h 331"/>
                  <a:gd name="T12" fmla="*/ 486 w 708"/>
                  <a:gd name="T13" fmla="*/ 162 h 331"/>
                  <a:gd name="T14" fmla="*/ 468 w 708"/>
                  <a:gd name="T15" fmla="*/ 175 h 331"/>
                  <a:gd name="T16" fmla="*/ 445 w 708"/>
                  <a:gd name="T17" fmla="*/ 180 h 331"/>
                  <a:gd name="T18" fmla="*/ 226 w 708"/>
                  <a:gd name="T19" fmla="*/ 180 h 331"/>
                  <a:gd name="T20" fmla="*/ 218 w 708"/>
                  <a:gd name="T21" fmla="*/ 178 h 331"/>
                  <a:gd name="T22" fmla="*/ 213 w 708"/>
                  <a:gd name="T23" fmla="*/ 172 h 331"/>
                  <a:gd name="T24" fmla="*/ 211 w 708"/>
                  <a:gd name="T25" fmla="*/ 162 h 331"/>
                  <a:gd name="T26" fmla="*/ 216 w 708"/>
                  <a:gd name="T27" fmla="*/ 155 h 331"/>
                  <a:gd name="T28" fmla="*/ 223 w 708"/>
                  <a:gd name="T29" fmla="*/ 151 h 331"/>
                  <a:gd name="T30" fmla="*/ 437 w 708"/>
                  <a:gd name="T31" fmla="*/ 150 h 331"/>
                  <a:gd name="T32" fmla="*/ 461 w 708"/>
                  <a:gd name="T33" fmla="*/ 143 h 331"/>
                  <a:gd name="T34" fmla="*/ 475 w 708"/>
                  <a:gd name="T35" fmla="*/ 122 h 331"/>
                  <a:gd name="T36" fmla="*/ 478 w 708"/>
                  <a:gd name="T37" fmla="*/ 102 h 331"/>
                  <a:gd name="T38" fmla="*/ 470 w 708"/>
                  <a:gd name="T39" fmla="*/ 84 h 331"/>
                  <a:gd name="T40" fmla="*/ 451 w 708"/>
                  <a:gd name="T41" fmla="*/ 67 h 331"/>
                  <a:gd name="T42" fmla="*/ 422 w 708"/>
                  <a:gd name="T43" fmla="*/ 60 h 331"/>
                  <a:gd name="T44" fmla="*/ 389 w 708"/>
                  <a:gd name="T45" fmla="*/ 60 h 331"/>
                  <a:gd name="T46" fmla="*/ 365 w 708"/>
                  <a:gd name="T47" fmla="*/ 60 h 331"/>
                  <a:gd name="T48" fmla="*/ 339 w 708"/>
                  <a:gd name="T49" fmla="*/ 60 h 331"/>
                  <a:gd name="T50" fmla="*/ 307 w 708"/>
                  <a:gd name="T51" fmla="*/ 60 h 331"/>
                  <a:gd name="T52" fmla="*/ 246 w 708"/>
                  <a:gd name="T53" fmla="*/ 24 h 331"/>
                  <a:gd name="T54" fmla="*/ 181 w 708"/>
                  <a:gd name="T55" fmla="*/ 3 h 331"/>
                  <a:gd name="T56" fmla="*/ 15 w 708"/>
                  <a:gd name="T57" fmla="*/ 0 h 331"/>
                  <a:gd name="T58" fmla="*/ 8 w 708"/>
                  <a:gd name="T59" fmla="*/ 2 h 331"/>
                  <a:gd name="T60" fmla="*/ 1 w 708"/>
                  <a:gd name="T61" fmla="*/ 10 h 331"/>
                  <a:gd name="T62" fmla="*/ 0 w 708"/>
                  <a:gd name="T63" fmla="*/ 223 h 331"/>
                  <a:gd name="T64" fmla="*/ 7 w 708"/>
                  <a:gd name="T65" fmla="*/ 236 h 331"/>
                  <a:gd name="T66" fmla="*/ 90 w 708"/>
                  <a:gd name="T67" fmla="*/ 265 h 331"/>
                  <a:gd name="T68" fmla="*/ 205 w 708"/>
                  <a:gd name="T69" fmla="*/ 306 h 331"/>
                  <a:gd name="T70" fmla="*/ 281 w 708"/>
                  <a:gd name="T71" fmla="*/ 328 h 331"/>
                  <a:gd name="T72" fmla="*/ 321 w 708"/>
                  <a:gd name="T73" fmla="*/ 331 h 331"/>
                  <a:gd name="T74" fmla="*/ 348 w 708"/>
                  <a:gd name="T75" fmla="*/ 326 h 331"/>
                  <a:gd name="T76" fmla="*/ 408 w 708"/>
                  <a:gd name="T77" fmla="*/ 303 h 331"/>
                  <a:gd name="T78" fmla="*/ 494 w 708"/>
                  <a:gd name="T79" fmla="*/ 258 h 331"/>
                  <a:gd name="T80" fmla="*/ 557 w 708"/>
                  <a:gd name="T81" fmla="*/ 223 h 331"/>
                  <a:gd name="T82" fmla="*/ 636 w 708"/>
                  <a:gd name="T83" fmla="*/ 181 h 331"/>
                  <a:gd name="T84" fmla="*/ 703 w 708"/>
                  <a:gd name="T85" fmla="*/ 147 h 331"/>
                  <a:gd name="T86" fmla="*/ 708 w 708"/>
                  <a:gd name="T87" fmla="*/ 139 h 331"/>
                  <a:gd name="T88" fmla="*/ 706 w 708"/>
                  <a:gd name="T89" fmla="*/ 128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08" h="331">
                    <a:moveTo>
                      <a:pt x="704" y="125"/>
                    </a:moveTo>
                    <a:lnTo>
                      <a:pt x="695" y="117"/>
                    </a:lnTo>
                    <a:lnTo>
                      <a:pt x="688" y="110"/>
                    </a:lnTo>
                    <a:lnTo>
                      <a:pt x="680" y="104"/>
                    </a:lnTo>
                    <a:lnTo>
                      <a:pt x="673" y="99"/>
                    </a:lnTo>
                    <a:lnTo>
                      <a:pt x="665" y="95"/>
                    </a:lnTo>
                    <a:lnTo>
                      <a:pt x="658" y="91"/>
                    </a:lnTo>
                    <a:lnTo>
                      <a:pt x="650" y="89"/>
                    </a:lnTo>
                    <a:lnTo>
                      <a:pt x="644" y="87"/>
                    </a:lnTo>
                    <a:lnTo>
                      <a:pt x="636" y="85"/>
                    </a:lnTo>
                    <a:lnTo>
                      <a:pt x="629" y="85"/>
                    </a:lnTo>
                    <a:lnTo>
                      <a:pt x="622" y="85"/>
                    </a:lnTo>
                    <a:lnTo>
                      <a:pt x="615" y="85"/>
                    </a:lnTo>
                    <a:lnTo>
                      <a:pt x="599" y="88"/>
                    </a:lnTo>
                    <a:lnTo>
                      <a:pt x="583" y="91"/>
                    </a:lnTo>
                    <a:lnTo>
                      <a:pt x="507" y="115"/>
                    </a:lnTo>
                    <a:lnTo>
                      <a:pt x="505" y="127"/>
                    </a:lnTo>
                    <a:lnTo>
                      <a:pt x="502" y="137"/>
                    </a:lnTo>
                    <a:lnTo>
                      <a:pt x="497" y="147"/>
                    </a:lnTo>
                    <a:lnTo>
                      <a:pt x="491" y="157"/>
                    </a:lnTo>
                    <a:lnTo>
                      <a:pt x="486" y="162"/>
                    </a:lnTo>
                    <a:lnTo>
                      <a:pt x="480" y="166"/>
                    </a:lnTo>
                    <a:lnTo>
                      <a:pt x="474" y="171"/>
                    </a:lnTo>
                    <a:lnTo>
                      <a:pt x="468" y="175"/>
                    </a:lnTo>
                    <a:lnTo>
                      <a:pt x="460" y="177"/>
                    </a:lnTo>
                    <a:lnTo>
                      <a:pt x="453" y="179"/>
                    </a:lnTo>
                    <a:lnTo>
                      <a:pt x="445" y="180"/>
                    </a:lnTo>
                    <a:lnTo>
                      <a:pt x="437" y="180"/>
                    </a:lnTo>
                    <a:lnTo>
                      <a:pt x="422" y="180"/>
                    </a:lnTo>
                    <a:lnTo>
                      <a:pt x="226" y="180"/>
                    </a:lnTo>
                    <a:lnTo>
                      <a:pt x="223" y="180"/>
                    </a:lnTo>
                    <a:lnTo>
                      <a:pt x="220" y="179"/>
                    </a:lnTo>
                    <a:lnTo>
                      <a:pt x="218" y="178"/>
                    </a:lnTo>
                    <a:lnTo>
                      <a:pt x="216" y="176"/>
                    </a:lnTo>
                    <a:lnTo>
                      <a:pt x="214" y="174"/>
                    </a:lnTo>
                    <a:lnTo>
                      <a:pt x="213" y="172"/>
                    </a:lnTo>
                    <a:lnTo>
                      <a:pt x="211" y="169"/>
                    </a:lnTo>
                    <a:lnTo>
                      <a:pt x="211" y="165"/>
                    </a:lnTo>
                    <a:lnTo>
                      <a:pt x="211" y="162"/>
                    </a:lnTo>
                    <a:lnTo>
                      <a:pt x="213" y="160"/>
                    </a:lnTo>
                    <a:lnTo>
                      <a:pt x="214" y="157"/>
                    </a:lnTo>
                    <a:lnTo>
                      <a:pt x="216" y="155"/>
                    </a:lnTo>
                    <a:lnTo>
                      <a:pt x="218" y="154"/>
                    </a:lnTo>
                    <a:lnTo>
                      <a:pt x="220" y="151"/>
                    </a:lnTo>
                    <a:lnTo>
                      <a:pt x="223" y="151"/>
                    </a:lnTo>
                    <a:lnTo>
                      <a:pt x="226" y="150"/>
                    </a:lnTo>
                    <a:lnTo>
                      <a:pt x="422" y="150"/>
                    </a:lnTo>
                    <a:lnTo>
                      <a:pt x="437" y="150"/>
                    </a:lnTo>
                    <a:lnTo>
                      <a:pt x="446" y="149"/>
                    </a:lnTo>
                    <a:lnTo>
                      <a:pt x="455" y="147"/>
                    </a:lnTo>
                    <a:lnTo>
                      <a:pt x="461" y="143"/>
                    </a:lnTo>
                    <a:lnTo>
                      <a:pt x="468" y="137"/>
                    </a:lnTo>
                    <a:lnTo>
                      <a:pt x="472" y="130"/>
                    </a:lnTo>
                    <a:lnTo>
                      <a:pt x="475" y="122"/>
                    </a:lnTo>
                    <a:lnTo>
                      <a:pt x="477" y="114"/>
                    </a:lnTo>
                    <a:lnTo>
                      <a:pt x="478" y="105"/>
                    </a:lnTo>
                    <a:lnTo>
                      <a:pt x="478" y="102"/>
                    </a:lnTo>
                    <a:lnTo>
                      <a:pt x="478" y="98"/>
                    </a:lnTo>
                    <a:lnTo>
                      <a:pt x="474" y="90"/>
                    </a:lnTo>
                    <a:lnTo>
                      <a:pt x="470" y="84"/>
                    </a:lnTo>
                    <a:lnTo>
                      <a:pt x="465" y="76"/>
                    </a:lnTo>
                    <a:lnTo>
                      <a:pt x="458" y="71"/>
                    </a:lnTo>
                    <a:lnTo>
                      <a:pt x="451" y="67"/>
                    </a:lnTo>
                    <a:lnTo>
                      <a:pt x="442" y="63"/>
                    </a:lnTo>
                    <a:lnTo>
                      <a:pt x="432" y="61"/>
                    </a:lnTo>
                    <a:lnTo>
                      <a:pt x="422" y="60"/>
                    </a:lnTo>
                    <a:lnTo>
                      <a:pt x="410" y="60"/>
                    </a:lnTo>
                    <a:lnTo>
                      <a:pt x="399" y="60"/>
                    </a:lnTo>
                    <a:lnTo>
                      <a:pt x="389" y="60"/>
                    </a:lnTo>
                    <a:lnTo>
                      <a:pt x="381" y="60"/>
                    </a:lnTo>
                    <a:lnTo>
                      <a:pt x="373" y="60"/>
                    </a:lnTo>
                    <a:lnTo>
                      <a:pt x="365" y="60"/>
                    </a:lnTo>
                    <a:lnTo>
                      <a:pt x="356" y="60"/>
                    </a:lnTo>
                    <a:lnTo>
                      <a:pt x="349" y="60"/>
                    </a:lnTo>
                    <a:lnTo>
                      <a:pt x="339" y="60"/>
                    </a:lnTo>
                    <a:lnTo>
                      <a:pt x="330" y="60"/>
                    </a:lnTo>
                    <a:lnTo>
                      <a:pt x="320" y="60"/>
                    </a:lnTo>
                    <a:lnTo>
                      <a:pt x="307" y="60"/>
                    </a:lnTo>
                    <a:lnTo>
                      <a:pt x="288" y="46"/>
                    </a:lnTo>
                    <a:lnTo>
                      <a:pt x="267" y="33"/>
                    </a:lnTo>
                    <a:lnTo>
                      <a:pt x="246" y="24"/>
                    </a:lnTo>
                    <a:lnTo>
                      <a:pt x="225" y="15"/>
                    </a:lnTo>
                    <a:lnTo>
                      <a:pt x="204" y="9"/>
                    </a:lnTo>
                    <a:lnTo>
                      <a:pt x="181" y="3"/>
                    </a:lnTo>
                    <a:lnTo>
                      <a:pt x="159" y="1"/>
                    </a:lnTo>
                    <a:lnTo>
                      <a:pt x="136" y="0"/>
                    </a:lnTo>
                    <a:lnTo>
                      <a:pt x="15" y="0"/>
                    </a:lnTo>
                    <a:lnTo>
                      <a:pt x="13" y="0"/>
                    </a:lnTo>
                    <a:lnTo>
                      <a:pt x="10" y="1"/>
                    </a:lnTo>
                    <a:lnTo>
                      <a:pt x="8" y="2"/>
                    </a:lnTo>
                    <a:lnTo>
                      <a:pt x="4" y="4"/>
                    </a:lnTo>
                    <a:lnTo>
                      <a:pt x="3" y="7"/>
                    </a:lnTo>
                    <a:lnTo>
                      <a:pt x="1" y="10"/>
                    </a:lnTo>
                    <a:lnTo>
                      <a:pt x="1" y="12"/>
                    </a:lnTo>
                    <a:lnTo>
                      <a:pt x="0" y="15"/>
                    </a:lnTo>
                    <a:lnTo>
                      <a:pt x="0" y="223"/>
                    </a:lnTo>
                    <a:lnTo>
                      <a:pt x="1" y="229"/>
                    </a:lnTo>
                    <a:lnTo>
                      <a:pt x="3" y="232"/>
                    </a:lnTo>
                    <a:lnTo>
                      <a:pt x="7" y="236"/>
                    </a:lnTo>
                    <a:lnTo>
                      <a:pt x="11" y="238"/>
                    </a:lnTo>
                    <a:lnTo>
                      <a:pt x="53" y="252"/>
                    </a:lnTo>
                    <a:lnTo>
                      <a:pt x="90" y="265"/>
                    </a:lnTo>
                    <a:lnTo>
                      <a:pt x="123" y="277"/>
                    </a:lnTo>
                    <a:lnTo>
                      <a:pt x="154" y="288"/>
                    </a:lnTo>
                    <a:lnTo>
                      <a:pt x="205" y="306"/>
                    </a:lnTo>
                    <a:lnTo>
                      <a:pt x="247" y="320"/>
                    </a:lnTo>
                    <a:lnTo>
                      <a:pt x="264" y="325"/>
                    </a:lnTo>
                    <a:lnTo>
                      <a:pt x="281" y="328"/>
                    </a:lnTo>
                    <a:lnTo>
                      <a:pt x="296" y="331"/>
                    </a:lnTo>
                    <a:lnTo>
                      <a:pt x="311" y="331"/>
                    </a:lnTo>
                    <a:lnTo>
                      <a:pt x="321" y="331"/>
                    </a:lnTo>
                    <a:lnTo>
                      <a:pt x="329" y="329"/>
                    </a:lnTo>
                    <a:lnTo>
                      <a:pt x="338" y="328"/>
                    </a:lnTo>
                    <a:lnTo>
                      <a:pt x="348" y="326"/>
                    </a:lnTo>
                    <a:lnTo>
                      <a:pt x="366" y="321"/>
                    </a:lnTo>
                    <a:lnTo>
                      <a:pt x="386" y="313"/>
                    </a:lnTo>
                    <a:lnTo>
                      <a:pt x="408" y="303"/>
                    </a:lnTo>
                    <a:lnTo>
                      <a:pt x="433" y="291"/>
                    </a:lnTo>
                    <a:lnTo>
                      <a:pt x="461" y="276"/>
                    </a:lnTo>
                    <a:lnTo>
                      <a:pt x="494" y="258"/>
                    </a:lnTo>
                    <a:lnTo>
                      <a:pt x="513" y="247"/>
                    </a:lnTo>
                    <a:lnTo>
                      <a:pt x="533" y="236"/>
                    </a:lnTo>
                    <a:lnTo>
                      <a:pt x="557" y="223"/>
                    </a:lnTo>
                    <a:lnTo>
                      <a:pt x="581" y="210"/>
                    </a:lnTo>
                    <a:lnTo>
                      <a:pt x="607" y="196"/>
                    </a:lnTo>
                    <a:lnTo>
                      <a:pt x="636" y="181"/>
                    </a:lnTo>
                    <a:lnTo>
                      <a:pt x="667" y="165"/>
                    </a:lnTo>
                    <a:lnTo>
                      <a:pt x="699" y="149"/>
                    </a:lnTo>
                    <a:lnTo>
                      <a:pt x="703" y="147"/>
                    </a:lnTo>
                    <a:lnTo>
                      <a:pt x="705" y="145"/>
                    </a:lnTo>
                    <a:lnTo>
                      <a:pt x="707" y="142"/>
                    </a:lnTo>
                    <a:lnTo>
                      <a:pt x="708" y="139"/>
                    </a:lnTo>
                    <a:lnTo>
                      <a:pt x="708" y="134"/>
                    </a:lnTo>
                    <a:lnTo>
                      <a:pt x="707" y="131"/>
                    </a:lnTo>
                    <a:lnTo>
                      <a:pt x="706" y="128"/>
                    </a:lnTo>
                    <a:lnTo>
                      <a:pt x="704" y="125"/>
                    </a:lnTo>
                    <a:lnTo>
                      <a:pt x="704"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grpSp>
        <p:sp>
          <p:nvSpPr>
            <p:cNvPr id="35" name="Content Placeholder 2">
              <a:extLst>
                <a:ext uri="{FF2B5EF4-FFF2-40B4-BE49-F238E27FC236}">
                  <a16:creationId xmlns:a16="http://schemas.microsoft.com/office/drawing/2014/main" id="{C5361F62-1898-4B21-A330-D229A29302FF}"/>
                </a:ext>
              </a:extLst>
            </p:cNvPr>
            <p:cNvSpPr txBox="1">
              <a:spLocks/>
            </p:cNvSpPr>
            <p:nvPr/>
          </p:nvSpPr>
          <p:spPr>
            <a:xfrm>
              <a:off x="6553852" y="2621609"/>
              <a:ext cx="2139238" cy="426271"/>
            </a:xfrm>
            <a:prstGeom prst="rect">
              <a:avLst/>
            </a:prstGeom>
          </p:spPr>
          <p:txBody>
            <a:bodyPr wrap="square" lIns="0" tIns="0" rIns="0" bIns="0" anchor="t">
              <a:spAutoFit/>
            </a:bodyPr>
            <a:lstStyle>
              <a:defPPr>
                <a:defRPr lang="id-ID"/>
              </a:defPPr>
              <a:lvl1pPr algn="ctr">
                <a:defRPr sz="1400">
                  <a:solidFill>
                    <a:schemeClr val="accent2"/>
                  </a:solidFill>
                  <a:latin typeface="Century Gothic" panose="020B0502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300"/>
                </a:spcAft>
                <a:buClrTx/>
                <a:buSzTx/>
                <a:buFontTx/>
                <a:buNone/>
                <a:tabLst/>
                <a:defRPr/>
              </a:pPr>
              <a:r>
                <a:rPr lang="en-US" dirty="0">
                  <a:solidFill>
                    <a:schemeClr val="tx1"/>
                  </a:solidFill>
                  <a:latin typeface="+mn-lt"/>
                </a:rPr>
                <a:t>Applying techniques</a:t>
              </a:r>
            </a:p>
            <a:p>
              <a:pPr marL="0" marR="0" lvl="0" indent="0" algn="ctr" defTabSz="914400" rtl="0" eaLnBrk="1" fontAlgn="auto" latinLnBrk="0" hangingPunct="1">
                <a:lnSpc>
                  <a:spcPct val="90000"/>
                </a:lnSpc>
                <a:spcBef>
                  <a:spcPts val="0"/>
                </a:spcBef>
                <a:spcAft>
                  <a:spcPts val="300"/>
                </a:spcAft>
                <a:buClrTx/>
                <a:buSzTx/>
                <a:buFontTx/>
                <a:buNone/>
                <a:tabLst/>
                <a:defRPr/>
              </a:pPr>
              <a:r>
                <a:rPr kumimoji="0" lang="en-US" b="0" i="0" u="none" strike="noStrike" kern="1200" cap="none" spc="0" normalizeH="0" baseline="0" noProof="0" dirty="0">
                  <a:ln>
                    <a:noFill/>
                  </a:ln>
                  <a:solidFill>
                    <a:schemeClr val="tx1"/>
                  </a:solidFill>
                  <a:effectLst/>
                  <a:uLnTx/>
                  <a:uFillTx/>
                  <a:latin typeface="+mn-lt"/>
                  <a:ea typeface="+mn-ea"/>
                  <a:cs typeface="+mn-cs"/>
                </a:rPr>
                <a:t>Cross Validation</a:t>
              </a:r>
            </a:p>
          </p:txBody>
        </p:sp>
        <p:grpSp>
          <p:nvGrpSpPr>
            <p:cNvPr id="45" name="Group 4">
              <a:extLst>
                <a:ext uri="{FF2B5EF4-FFF2-40B4-BE49-F238E27FC236}">
                  <a16:creationId xmlns:a16="http://schemas.microsoft.com/office/drawing/2014/main" id="{B3588636-BD99-4376-BE71-7D5AE32250AA}"/>
                </a:ext>
              </a:extLst>
            </p:cNvPr>
            <p:cNvGrpSpPr>
              <a:grpSpLocks noChangeAspect="1"/>
            </p:cNvGrpSpPr>
            <p:nvPr/>
          </p:nvGrpSpPr>
          <p:grpSpPr bwMode="auto">
            <a:xfrm>
              <a:off x="7363770" y="1992335"/>
              <a:ext cx="519402" cy="308648"/>
              <a:chOff x="1792" y="943"/>
              <a:chExt cx="4096" cy="2434"/>
            </a:xfrm>
            <a:solidFill>
              <a:schemeClr val="accent1"/>
            </a:solidFill>
          </p:grpSpPr>
          <p:sp>
            <p:nvSpPr>
              <p:cNvPr id="66" name="Freeform 5">
                <a:extLst>
                  <a:ext uri="{FF2B5EF4-FFF2-40B4-BE49-F238E27FC236}">
                    <a16:creationId xmlns:a16="http://schemas.microsoft.com/office/drawing/2014/main" id="{BA895A8B-6F37-4465-95CD-F98C62BF59AA}"/>
                  </a:ext>
                </a:extLst>
              </p:cNvPr>
              <p:cNvSpPr>
                <a:spLocks/>
              </p:cNvSpPr>
              <p:nvPr/>
            </p:nvSpPr>
            <p:spPr bwMode="auto">
              <a:xfrm>
                <a:off x="2950" y="943"/>
                <a:ext cx="2172" cy="1666"/>
              </a:xfrm>
              <a:custGeom>
                <a:avLst/>
                <a:gdLst>
                  <a:gd name="T0" fmla="*/ 2172 w 2172"/>
                  <a:gd name="T1" fmla="*/ 1666 h 1666"/>
                  <a:gd name="T2" fmla="*/ 1908 w 2172"/>
                  <a:gd name="T3" fmla="*/ 1666 h 1666"/>
                  <a:gd name="T4" fmla="*/ 1888 w 2172"/>
                  <a:gd name="T5" fmla="*/ 1662 h 1666"/>
                  <a:gd name="T6" fmla="*/ 1854 w 2172"/>
                  <a:gd name="T7" fmla="*/ 1648 h 1666"/>
                  <a:gd name="T8" fmla="*/ 1810 w 2172"/>
                  <a:gd name="T9" fmla="*/ 1616 h 1666"/>
                  <a:gd name="T10" fmla="*/ 1784 w 2172"/>
                  <a:gd name="T11" fmla="*/ 1588 h 1666"/>
                  <a:gd name="T12" fmla="*/ 1320 w 2172"/>
                  <a:gd name="T13" fmla="*/ 1086 h 1666"/>
                  <a:gd name="T14" fmla="*/ 912 w 2172"/>
                  <a:gd name="T15" fmla="*/ 646 h 1666"/>
                  <a:gd name="T16" fmla="*/ 898 w 2172"/>
                  <a:gd name="T17" fmla="*/ 640 h 1666"/>
                  <a:gd name="T18" fmla="*/ 880 w 2172"/>
                  <a:gd name="T19" fmla="*/ 638 h 1666"/>
                  <a:gd name="T20" fmla="*/ 858 w 2172"/>
                  <a:gd name="T21" fmla="*/ 646 h 1666"/>
                  <a:gd name="T22" fmla="*/ 548 w 2172"/>
                  <a:gd name="T23" fmla="*/ 824 h 1666"/>
                  <a:gd name="T24" fmla="*/ 264 w 2172"/>
                  <a:gd name="T25" fmla="*/ 990 h 1666"/>
                  <a:gd name="T26" fmla="*/ 230 w 2172"/>
                  <a:gd name="T27" fmla="*/ 1004 h 1666"/>
                  <a:gd name="T28" fmla="*/ 194 w 2172"/>
                  <a:gd name="T29" fmla="*/ 1012 h 1666"/>
                  <a:gd name="T30" fmla="*/ 166 w 2172"/>
                  <a:gd name="T31" fmla="*/ 1010 h 1666"/>
                  <a:gd name="T32" fmla="*/ 138 w 2172"/>
                  <a:gd name="T33" fmla="*/ 1002 h 1666"/>
                  <a:gd name="T34" fmla="*/ 110 w 2172"/>
                  <a:gd name="T35" fmla="*/ 982 h 1666"/>
                  <a:gd name="T36" fmla="*/ 96 w 2172"/>
                  <a:gd name="T37" fmla="*/ 968 h 1666"/>
                  <a:gd name="T38" fmla="*/ 50 w 2172"/>
                  <a:gd name="T39" fmla="*/ 906 h 1666"/>
                  <a:gd name="T40" fmla="*/ 16 w 2172"/>
                  <a:gd name="T41" fmla="*/ 850 h 1666"/>
                  <a:gd name="T42" fmla="*/ 0 w 2172"/>
                  <a:gd name="T43" fmla="*/ 802 h 1666"/>
                  <a:gd name="T44" fmla="*/ 0 w 2172"/>
                  <a:gd name="T45" fmla="*/ 782 h 1666"/>
                  <a:gd name="T46" fmla="*/ 4 w 2172"/>
                  <a:gd name="T47" fmla="*/ 766 h 1666"/>
                  <a:gd name="T48" fmla="*/ 12 w 2172"/>
                  <a:gd name="T49" fmla="*/ 754 h 1666"/>
                  <a:gd name="T50" fmla="*/ 88 w 2172"/>
                  <a:gd name="T51" fmla="*/ 678 h 1666"/>
                  <a:gd name="T52" fmla="*/ 262 w 2172"/>
                  <a:gd name="T53" fmla="*/ 520 h 1666"/>
                  <a:gd name="T54" fmla="*/ 592 w 2172"/>
                  <a:gd name="T55" fmla="*/ 222 h 1666"/>
                  <a:gd name="T56" fmla="*/ 680 w 2172"/>
                  <a:gd name="T57" fmla="*/ 146 h 1666"/>
                  <a:gd name="T58" fmla="*/ 830 w 2172"/>
                  <a:gd name="T59" fmla="*/ 34 h 1666"/>
                  <a:gd name="T60" fmla="*/ 866 w 2172"/>
                  <a:gd name="T61" fmla="*/ 10 h 1666"/>
                  <a:gd name="T62" fmla="*/ 884 w 2172"/>
                  <a:gd name="T63" fmla="*/ 2 h 1666"/>
                  <a:gd name="T64" fmla="*/ 906 w 2172"/>
                  <a:gd name="T65" fmla="*/ 2 h 1666"/>
                  <a:gd name="T66" fmla="*/ 934 w 2172"/>
                  <a:gd name="T67" fmla="*/ 10 h 1666"/>
                  <a:gd name="T68" fmla="*/ 966 w 2172"/>
                  <a:gd name="T69" fmla="*/ 26 h 1666"/>
                  <a:gd name="T70" fmla="*/ 1354 w 2172"/>
                  <a:gd name="T71" fmla="*/ 248 h 1666"/>
                  <a:gd name="T72" fmla="*/ 1720 w 2172"/>
                  <a:gd name="T73" fmla="*/ 464 h 1666"/>
                  <a:gd name="T74" fmla="*/ 1784 w 2172"/>
                  <a:gd name="T75" fmla="*/ 502 h 1666"/>
                  <a:gd name="T76" fmla="*/ 1926 w 2172"/>
                  <a:gd name="T77" fmla="*/ 594 h 1666"/>
                  <a:gd name="T78" fmla="*/ 1984 w 2172"/>
                  <a:gd name="T79" fmla="*/ 626 h 1666"/>
                  <a:gd name="T80" fmla="*/ 2026 w 2172"/>
                  <a:gd name="T81" fmla="*/ 640 h 1666"/>
                  <a:gd name="T82" fmla="*/ 2066 w 2172"/>
                  <a:gd name="T83" fmla="*/ 644 h 1666"/>
                  <a:gd name="T84" fmla="*/ 2172 w 2172"/>
                  <a:gd name="T85" fmla="*/ 646 h 1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72" h="1666">
                    <a:moveTo>
                      <a:pt x="2172" y="646"/>
                    </a:moveTo>
                    <a:lnTo>
                      <a:pt x="2172" y="1666"/>
                    </a:lnTo>
                    <a:lnTo>
                      <a:pt x="1908" y="1666"/>
                    </a:lnTo>
                    <a:lnTo>
                      <a:pt x="1908" y="1666"/>
                    </a:lnTo>
                    <a:lnTo>
                      <a:pt x="1900" y="1664"/>
                    </a:lnTo>
                    <a:lnTo>
                      <a:pt x="1888" y="1662"/>
                    </a:lnTo>
                    <a:lnTo>
                      <a:pt x="1874" y="1658"/>
                    </a:lnTo>
                    <a:lnTo>
                      <a:pt x="1854" y="1648"/>
                    </a:lnTo>
                    <a:lnTo>
                      <a:pt x="1834" y="1634"/>
                    </a:lnTo>
                    <a:lnTo>
                      <a:pt x="1810" y="1616"/>
                    </a:lnTo>
                    <a:lnTo>
                      <a:pt x="1784" y="1588"/>
                    </a:lnTo>
                    <a:lnTo>
                      <a:pt x="1784" y="1588"/>
                    </a:lnTo>
                    <a:lnTo>
                      <a:pt x="1616" y="1406"/>
                    </a:lnTo>
                    <a:lnTo>
                      <a:pt x="1320" y="1086"/>
                    </a:lnTo>
                    <a:lnTo>
                      <a:pt x="912" y="646"/>
                    </a:lnTo>
                    <a:lnTo>
                      <a:pt x="912" y="646"/>
                    </a:lnTo>
                    <a:lnTo>
                      <a:pt x="908" y="644"/>
                    </a:lnTo>
                    <a:lnTo>
                      <a:pt x="898" y="640"/>
                    </a:lnTo>
                    <a:lnTo>
                      <a:pt x="890" y="638"/>
                    </a:lnTo>
                    <a:lnTo>
                      <a:pt x="880" y="638"/>
                    </a:lnTo>
                    <a:lnTo>
                      <a:pt x="870" y="642"/>
                    </a:lnTo>
                    <a:lnTo>
                      <a:pt x="858" y="646"/>
                    </a:lnTo>
                    <a:lnTo>
                      <a:pt x="858" y="646"/>
                    </a:lnTo>
                    <a:lnTo>
                      <a:pt x="548" y="824"/>
                    </a:lnTo>
                    <a:lnTo>
                      <a:pt x="264" y="990"/>
                    </a:lnTo>
                    <a:lnTo>
                      <a:pt x="264" y="990"/>
                    </a:lnTo>
                    <a:lnTo>
                      <a:pt x="248" y="998"/>
                    </a:lnTo>
                    <a:lnTo>
                      <a:pt x="230" y="1004"/>
                    </a:lnTo>
                    <a:lnTo>
                      <a:pt x="206" y="1010"/>
                    </a:lnTo>
                    <a:lnTo>
                      <a:pt x="194" y="1012"/>
                    </a:lnTo>
                    <a:lnTo>
                      <a:pt x="180" y="1012"/>
                    </a:lnTo>
                    <a:lnTo>
                      <a:pt x="166" y="1010"/>
                    </a:lnTo>
                    <a:lnTo>
                      <a:pt x="152" y="1006"/>
                    </a:lnTo>
                    <a:lnTo>
                      <a:pt x="138" y="1002"/>
                    </a:lnTo>
                    <a:lnTo>
                      <a:pt x="124" y="994"/>
                    </a:lnTo>
                    <a:lnTo>
                      <a:pt x="110" y="982"/>
                    </a:lnTo>
                    <a:lnTo>
                      <a:pt x="96" y="968"/>
                    </a:lnTo>
                    <a:lnTo>
                      <a:pt x="96" y="968"/>
                    </a:lnTo>
                    <a:lnTo>
                      <a:pt x="70" y="936"/>
                    </a:lnTo>
                    <a:lnTo>
                      <a:pt x="50" y="906"/>
                    </a:lnTo>
                    <a:lnTo>
                      <a:pt x="30" y="878"/>
                    </a:lnTo>
                    <a:lnTo>
                      <a:pt x="16" y="850"/>
                    </a:lnTo>
                    <a:lnTo>
                      <a:pt x="6" y="824"/>
                    </a:lnTo>
                    <a:lnTo>
                      <a:pt x="0" y="802"/>
                    </a:lnTo>
                    <a:lnTo>
                      <a:pt x="0" y="792"/>
                    </a:lnTo>
                    <a:lnTo>
                      <a:pt x="0" y="782"/>
                    </a:lnTo>
                    <a:lnTo>
                      <a:pt x="2" y="772"/>
                    </a:lnTo>
                    <a:lnTo>
                      <a:pt x="4" y="766"/>
                    </a:lnTo>
                    <a:lnTo>
                      <a:pt x="4" y="766"/>
                    </a:lnTo>
                    <a:lnTo>
                      <a:pt x="12" y="754"/>
                    </a:lnTo>
                    <a:lnTo>
                      <a:pt x="30" y="734"/>
                    </a:lnTo>
                    <a:lnTo>
                      <a:pt x="88" y="678"/>
                    </a:lnTo>
                    <a:lnTo>
                      <a:pt x="168" y="604"/>
                    </a:lnTo>
                    <a:lnTo>
                      <a:pt x="262" y="520"/>
                    </a:lnTo>
                    <a:lnTo>
                      <a:pt x="592" y="222"/>
                    </a:lnTo>
                    <a:lnTo>
                      <a:pt x="592" y="222"/>
                    </a:lnTo>
                    <a:lnTo>
                      <a:pt x="636" y="182"/>
                    </a:lnTo>
                    <a:lnTo>
                      <a:pt x="680" y="146"/>
                    </a:lnTo>
                    <a:lnTo>
                      <a:pt x="764" y="82"/>
                    </a:lnTo>
                    <a:lnTo>
                      <a:pt x="830" y="34"/>
                    </a:lnTo>
                    <a:lnTo>
                      <a:pt x="866" y="10"/>
                    </a:lnTo>
                    <a:lnTo>
                      <a:pt x="866" y="10"/>
                    </a:lnTo>
                    <a:lnTo>
                      <a:pt x="874" y="4"/>
                    </a:lnTo>
                    <a:lnTo>
                      <a:pt x="884" y="2"/>
                    </a:lnTo>
                    <a:lnTo>
                      <a:pt x="896" y="0"/>
                    </a:lnTo>
                    <a:lnTo>
                      <a:pt x="906" y="2"/>
                    </a:lnTo>
                    <a:lnTo>
                      <a:pt x="920" y="6"/>
                    </a:lnTo>
                    <a:lnTo>
                      <a:pt x="934" y="10"/>
                    </a:lnTo>
                    <a:lnTo>
                      <a:pt x="966" y="26"/>
                    </a:lnTo>
                    <a:lnTo>
                      <a:pt x="966" y="26"/>
                    </a:lnTo>
                    <a:lnTo>
                      <a:pt x="1098" y="102"/>
                    </a:lnTo>
                    <a:lnTo>
                      <a:pt x="1354" y="248"/>
                    </a:lnTo>
                    <a:lnTo>
                      <a:pt x="1618" y="402"/>
                    </a:lnTo>
                    <a:lnTo>
                      <a:pt x="1720" y="464"/>
                    </a:lnTo>
                    <a:lnTo>
                      <a:pt x="1784" y="502"/>
                    </a:lnTo>
                    <a:lnTo>
                      <a:pt x="1784" y="502"/>
                    </a:lnTo>
                    <a:lnTo>
                      <a:pt x="1858" y="552"/>
                    </a:lnTo>
                    <a:lnTo>
                      <a:pt x="1926" y="594"/>
                    </a:lnTo>
                    <a:lnTo>
                      <a:pt x="1958" y="612"/>
                    </a:lnTo>
                    <a:lnTo>
                      <a:pt x="1984" y="626"/>
                    </a:lnTo>
                    <a:lnTo>
                      <a:pt x="2008" y="636"/>
                    </a:lnTo>
                    <a:lnTo>
                      <a:pt x="2026" y="640"/>
                    </a:lnTo>
                    <a:lnTo>
                      <a:pt x="2026" y="640"/>
                    </a:lnTo>
                    <a:lnTo>
                      <a:pt x="2066" y="644"/>
                    </a:lnTo>
                    <a:lnTo>
                      <a:pt x="2114" y="646"/>
                    </a:lnTo>
                    <a:lnTo>
                      <a:pt x="2172" y="646"/>
                    </a:lnTo>
                    <a:lnTo>
                      <a:pt x="2172" y="6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67" name="Freeform 6">
                <a:extLst>
                  <a:ext uri="{FF2B5EF4-FFF2-40B4-BE49-F238E27FC236}">
                    <a16:creationId xmlns:a16="http://schemas.microsoft.com/office/drawing/2014/main" id="{425A494A-EE2F-4107-ACD9-8DA90E5DD988}"/>
                  </a:ext>
                </a:extLst>
              </p:cNvPr>
              <p:cNvSpPr>
                <a:spLocks/>
              </p:cNvSpPr>
              <p:nvPr/>
            </p:nvSpPr>
            <p:spPr bwMode="auto">
              <a:xfrm>
                <a:off x="2556" y="1201"/>
                <a:ext cx="2302" cy="2176"/>
              </a:xfrm>
              <a:custGeom>
                <a:avLst/>
                <a:gdLst>
                  <a:gd name="T0" fmla="*/ 100 w 2302"/>
                  <a:gd name="T1" fmla="*/ 388 h 2176"/>
                  <a:gd name="T2" fmla="*/ 356 w 2302"/>
                  <a:gd name="T3" fmla="*/ 218 h 2176"/>
                  <a:gd name="T4" fmla="*/ 574 w 2302"/>
                  <a:gd name="T5" fmla="*/ 88 h 2176"/>
                  <a:gd name="T6" fmla="*/ 672 w 2302"/>
                  <a:gd name="T7" fmla="*/ 38 h 2176"/>
                  <a:gd name="T8" fmla="*/ 770 w 2302"/>
                  <a:gd name="T9" fmla="*/ 2 h 2176"/>
                  <a:gd name="T10" fmla="*/ 828 w 2302"/>
                  <a:gd name="T11" fmla="*/ 8 h 2176"/>
                  <a:gd name="T12" fmla="*/ 610 w 2302"/>
                  <a:gd name="T13" fmla="*/ 198 h 2176"/>
                  <a:gd name="T14" fmla="*/ 418 w 2302"/>
                  <a:gd name="T15" fmla="*/ 376 h 2176"/>
                  <a:gd name="T16" fmla="*/ 358 w 2302"/>
                  <a:gd name="T17" fmla="*/ 446 h 2176"/>
                  <a:gd name="T18" fmla="*/ 336 w 2302"/>
                  <a:gd name="T19" fmla="*/ 504 h 2176"/>
                  <a:gd name="T20" fmla="*/ 332 w 2302"/>
                  <a:gd name="T21" fmla="*/ 546 h 2176"/>
                  <a:gd name="T22" fmla="*/ 340 w 2302"/>
                  <a:gd name="T23" fmla="*/ 590 h 2176"/>
                  <a:gd name="T24" fmla="*/ 394 w 2302"/>
                  <a:gd name="T25" fmla="*/ 690 h 2176"/>
                  <a:gd name="T26" fmla="*/ 448 w 2302"/>
                  <a:gd name="T27" fmla="*/ 756 h 2176"/>
                  <a:gd name="T28" fmla="*/ 508 w 2302"/>
                  <a:gd name="T29" fmla="*/ 804 h 2176"/>
                  <a:gd name="T30" fmla="*/ 554 w 2302"/>
                  <a:gd name="T31" fmla="*/ 824 h 2176"/>
                  <a:gd name="T32" fmla="*/ 604 w 2302"/>
                  <a:gd name="T33" fmla="*/ 826 h 2176"/>
                  <a:gd name="T34" fmla="*/ 640 w 2302"/>
                  <a:gd name="T35" fmla="*/ 816 h 2176"/>
                  <a:gd name="T36" fmla="*/ 778 w 2302"/>
                  <a:gd name="T37" fmla="*/ 742 h 2176"/>
                  <a:gd name="T38" fmla="*/ 1182 w 2302"/>
                  <a:gd name="T39" fmla="*/ 502 h 2176"/>
                  <a:gd name="T40" fmla="*/ 2200 w 2302"/>
                  <a:gd name="T41" fmla="*/ 1442 h 2176"/>
                  <a:gd name="T42" fmla="*/ 2242 w 2302"/>
                  <a:gd name="T43" fmla="*/ 1508 h 2176"/>
                  <a:gd name="T44" fmla="*/ 2284 w 2302"/>
                  <a:gd name="T45" fmla="*/ 1604 h 2176"/>
                  <a:gd name="T46" fmla="*/ 2302 w 2302"/>
                  <a:gd name="T47" fmla="*/ 1688 h 2176"/>
                  <a:gd name="T48" fmla="*/ 2290 w 2302"/>
                  <a:gd name="T49" fmla="*/ 1776 h 2176"/>
                  <a:gd name="T50" fmla="*/ 2266 w 2302"/>
                  <a:gd name="T51" fmla="*/ 1826 h 2176"/>
                  <a:gd name="T52" fmla="*/ 2216 w 2302"/>
                  <a:gd name="T53" fmla="*/ 1876 h 2176"/>
                  <a:gd name="T54" fmla="*/ 2154 w 2302"/>
                  <a:gd name="T55" fmla="*/ 1900 h 2176"/>
                  <a:gd name="T56" fmla="*/ 2088 w 2302"/>
                  <a:gd name="T57" fmla="*/ 1902 h 2176"/>
                  <a:gd name="T58" fmla="*/ 2028 w 2302"/>
                  <a:gd name="T59" fmla="*/ 1882 h 2176"/>
                  <a:gd name="T60" fmla="*/ 1992 w 2302"/>
                  <a:gd name="T61" fmla="*/ 1860 h 2176"/>
                  <a:gd name="T62" fmla="*/ 1968 w 2302"/>
                  <a:gd name="T63" fmla="*/ 1938 h 2176"/>
                  <a:gd name="T64" fmla="*/ 1938 w 2302"/>
                  <a:gd name="T65" fmla="*/ 1984 h 2176"/>
                  <a:gd name="T66" fmla="*/ 1888 w 2302"/>
                  <a:gd name="T67" fmla="*/ 2020 h 2176"/>
                  <a:gd name="T68" fmla="*/ 1844 w 2302"/>
                  <a:gd name="T69" fmla="*/ 2034 h 2176"/>
                  <a:gd name="T70" fmla="*/ 1776 w 2302"/>
                  <a:gd name="T71" fmla="*/ 2040 h 2176"/>
                  <a:gd name="T72" fmla="*/ 1690 w 2302"/>
                  <a:gd name="T73" fmla="*/ 2030 h 2176"/>
                  <a:gd name="T74" fmla="*/ 1638 w 2302"/>
                  <a:gd name="T75" fmla="*/ 2008 h 2176"/>
                  <a:gd name="T76" fmla="*/ 1614 w 2302"/>
                  <a:gd name="T77" fmla="*/ 2056 h 2176"/>
                  <a:gd name="T78" fmla="*/ 1566 w 2302"/>
                  <a:gd name="T79" fmla="*/ 2112 h 2176"/>
                  <a:gd name="T80" fmla="*/ 1512 w 2302"/>
                  <a:gd name="T81" fmla="*/ 2148 h 2176"/>
                  <a:gd name="T82" fmla="*/ 1440 w 2302"/>
                  <a:gd name="T83" fmla="*/ 2168 h 2176"/>
                  <a:gd name="T84" fmla="*/ 1388 w 2302"/>
                  <a:gd name="T85" fmla="*/ 2168 h 2176"/>
                  <a:gd name="T86" fmla="*/ 1324 w 2302"/>
                  <a:gd name="T87" fmla="*/ 2154 h 2176"/>
                  <a:gd name="T88" fmla="*/ 1274 w 2302"/>
                  <a:gd name="T89" fmla="*/ 2130 h 2176"/>
                  <a:gd name="T90" fmla="*/ 1214 w 2302"/>
                  <a:gd name="T91" fmla="*/ 2082 h 2176"/>
                  <a:gd name="T92" fmla="*/ 1196 w 2302"/>
                  <a:gd name="T93" fmla="*/ 2102 h 2176"/>
                  <a:gd name="T94" fmla="*/ 1142 w 2302"/>
                  <a:gd name="T95" fmla="*/ 2144 h 2176"/>
                  <a:gd name="T96" fmla="*/ 1080 w 2302"/>
                  <a:gd name="T97" fmla="*/ 2170 h 2176"/>
                  <a:gd name="T98" fmla="*/ 1004 w 2302"/>
                  <a:gd name="T99" fmla="*/ 2174 h 2176"/>
                  <a:gd name="T100" fmla="*/ 944 w 2302"/>
                  <a:gd name="T101" fmla="*/ 2160 h 2176"/>
                  <a:gd name="T102" fmla="*/ 870 w 2302"/>
                  <a:gd name="T103" fmla="*/ 2118 h 2176"/>
                  <a:gd name="T104" fmla="*/ 724 w 2302"/>
                  <a:gd name="T105" fmla="*/ 2002 h 2176"/>
                  <a:gd name="T106" fmla="*/ 466 w 2302"/>
                  <a:gd name="T107" fmla="*/ 1760 h 2176"/>
                  <a:gd name="T108" fmla="*/ 310 w 2302"/>
                  <a:gd name="T109" fmla="*/ 1598 h 2176"/>
                  <a:gd name="T110" fmla="*/ 232 w 2302"/>
                  <a:gd name="T111" fmla="*/ 1506 h 2176"/>
                  <a:gd name="T112" fmla="*/ 148 w 2302"/>
                  <a:gd name="T113" fmla="*/ 1428 h 2176"/>
                  <a:gd name="T114" fmla="*/ 102 w 2302"/>
                  <a:gd name="T115" fmla="*/ 1408 h 2176"/>
                  <a:gd name="T116" fmla="*/ 28 w 2302"/>
                  <a:gd name="T117" fmla="*/ 1404 h 2176"/>
                  <a:gd name="T118" fmla="*/ 0 w 2302"/>
                  <a:gd name="T119" fmla="*/ 388 h 2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02" h="2176">
                    <a:moveTo>
                      <a:pt x="0" y="388"/>
                    </a:moveTo>
                    <a:lnTo>
                      <a:pt x="100" y="388"/>
                    </a:lnTo>
                    <a:lnTo>
                      <a:pt x="100" y="388"/>
                    </a:lnTo>
                    <a:lnTo>
                      <a:pt x="152" y="352"/>
                    </a:lnTo>
                    <a:lnTo>
                      <a:pt x="280" y="268"/>
                    </a:lnTo>
                    <a:lnTo>
                      <a:pt x="356" y="218"/>
                    </a:lnTo>
                    <a:lnTo>
                      <a:pt x="434" y="170"/>
                    </a:lnTo>
                    <a:lnTo>
                      <a:pt x="510" y="124"/>
                    </a:lnTo>
                    <a:lnTo>
                      <a:pt x="574" y="88"/>
                    </a:lnTo>
                    <a:lnTo>
                      <a:pt x="574" y="88"/>
                    </a:lnTo>
                    <a:lnTo>
                      <a:pt x="628" y="60"/>
                    </a:lnTo>
                    <a:lnTo>
                      <a:pt x="672" y="38"/>
                    </a:lnTo>
                    <a:lnTo>
                      <a:pt x="712" y="22"/>
                    </a:lnTo>
                    <a:lnTo>
                      <a:pt x="744" y="10"/>
                    </a:lnTo>
                    <a:lnTo>
                      <a:pt x="770" y="2"/>
                    </a:lnTo>
                    <a:lnTo>
                      <a:pt x="792" y="0"/>
                    </a:lnTo>
                    <a:lnTo>
                      <a:pt x="812" y="2"/>
                    </a:lnTo>
                    <a:lnTo>
                      <a:pt x="828" y="8"/>
                    </a:lnTo>
                    <a:lnTo>
                      <a:pt x="828" y="8"/>
                    </a:lnTo>
                    <a:lnTo>
                      <a:pt x="760" y="66"/>
                    </a:lnTo>
                    <a:lnTo>
                      <a:pt x="610" y="198"/>
                    </a:lnTo>
                    <a:lnTo>
                      <a:pt x="526" y="272"/>
                    </a:lnTo>
                    <a:lnTo>
                      <a:pt x="450" y="344"/>
                    </a:lnTo>
                    <a:lnTo>
                      <a:pt x="418" y="376"/>
                    </a:lnTo>
                    <a:lnTo>
                      <a:pt x="390" y="404"/>
                    </a:lnTo>
                    <a:lnTo>
                      <a:pt x="370" y="428"/>
                    </a:lnTo>
                    <a:lnTo>
                      <a:pt x="358" y="446"/>
                    </a:lnTo>
                    <a:lnTo>
                      <a:pt x="358" y="446"/>
                    </a:lnTo>
                    <a:lnTo>
                      <a:pt x="344" y="476"/>
                    </a:lnTo>
                    <a:lnTo>
                      <a:pt x="336" y="504"/>
                    </a:lnTo>
                    <a:lnTo>
                      <a:pt x="332" y="518"/>
                    </a:lnTo>
                    <a:lnTo>
                      <a:pt x="332" y="532"/>
                    </a:lnTo>
                    <a:lnTo>
                      <a:pt x="332" y="546"/>
                    </a:lnTo>
                    <a:lnTo>
                      <a:pt x="332" y="562"/>
                    </a:lnTo>
                    <a:lnTo>
                      <a:pt x="336" y="576"/>
                    </a:lnTo>
                    <a:lnTo>
                      <a:pt x="340" y="590"/>
                    </a:lnTo>
                    <a:lnTo>
                      <a:pt x="352" y="622"/>
                    </a:lnTo>
                    <a:lnTo>
                      <a:pt x="370" y="654"/>
                    </a:lnTo>
                    <a:lnTo>
                      <a:pt x="394" y="690"/>
                    </a:lnTo>
                    <a:lnTo>
                      <a:pt x="394" y="690"/>
                    </a:lnTo>
                    <a:lnTo>
                      <a:pt x="420" y="726"/>
                    </a:lnTo>
                    <a:lnTo>
                      <a:pt x="448" y="756"/>
                    </a:lnTo>
                    <a:lnTo>
                      <a:pt x="478" y="782"/>
                    </a:lnTo>
                    <a:lnTo>
                      <a:pt x="492" y="794"/>
                    </a:lnTo>
                    <a:lnTo>
                      <a:pt x="508" y="804"/>
                    </a:lnTo>
                    <a:lnTo>
                      <a:pt x="522" y="812"/>
                    </a:lnTo>
                    <a:lnTo>
                      <a:pt x="538" y="818"/>
                    </a:lnTo>
                    <a:lnTo>
                      <a:pt x="554" y="824"/>
                    </a:lnTo>
                    <a:lnTo>
                      <a:pt x="570" y="826"/>
                    </a:lnTo>
                    <a:lnTo>
                      <a:pt x="588" y="826"/>
                    </a:lnTo>
                    <a:lnTo>
                      <a:pt x="604" y="826"/>
                    </a:lnTo>
                    <a:lnTo>
                      <a:pt x="622" y="822"/>
                    </a:lnTo>
                    <a:lnTo>
                      <a:pt x="640" y="816"/>
                    </a:lnTo>
                    <a:lnTo>
                      <a:pt x="640" y="816"/>
                    </a:lnTo>
                    <a:lnTo>
                      <a:pt x="662" y="806"/>
                    </a:lnTo>
                    <a:lnTo>
                      <a:pt x="694" y="790"/>
                    </a:lnTo>
                    <a:lnTo>
                      <a:pt x="778" y="742"/>
                    </a:lnTo>
                    <a:lnTo>
                      <a:pt x="880" y="684"/>
                    </a:lnTo>
                    <a:lnTo>
                      <a:pt x="990" y="618"/>
                    </a:lnTo>
                    <a:lnTo>
                      <a:pt x="1182" y="502"/>
                    </a:lnTo>
                    <a:lnTo>
                      <a:pt x="1266" y="450"/>
                    </a:lnTo>
                    <a:lnTo>
                      <a:pt x="2200" y="1442"/>
                    </a:lnTo>
                    <a:lnTo>
                      <a:pt x="2200" y="1442"/>
                    </a:lnTo>
                    <a:lnTo>
                      <a:pt x="2206" y="1450"/>
                    </a:lnTo>
                    <a:lnTo>
                      <a:pt x="2222" y="1472"/>
                    </a:lnTo>
                    <a:lnTo>
                      <a:pt x="2242" y="1508"/>
                    </a:lnTo>
                    <a:lnTo>
                      <a:pt x="2264" y="1552"/>
                    </a:lnTo>
                    <a:lnTo>
                      <a:pt x="2274" y="1578"/>
                    </a:lnTo>
                    <a:lnTo>
                      <a:pt x="2284" y="1604"/>
                    </a:lnTo>
                    <a:lnTo>
                      <a:pt x="2292" y="1632"/>
                    </a:lnTo>
                    <a:lnTo>
                      <a:pt x="2298" y="1660"/>
                    </a:lnTo>
                    <a:lnTo>
                      <a:pt x="2302" y="1688"/>
                    </a:lnTo>
                    <a:lnTo>
                      <a:pt x="2302" y="1718"/>
                    </a:lnTo>
                    <a:lnTo>
                      <a:pt x="2298" y="1748"/>
                    </a:lnTo>
                    <a:lnTo>
                      <a:pt x="2290" y="1776"/>
                    </a:lnTo>
                    <a:lnTo>
                      <a:pt x="2290" y="1776"/>
                    </a:lnTo>
                    <a:lnTo>
                      <a:pt x="2280" y="1802"/>
                    </a:lnTo>
                    <a:lnTo>
                      <a:pt x="2266" y="1826"/>
                    </a:lnTo>
                    <a:lnTo>
                      <a:pt x="2250" y="1846"/>
                    </a:lnTo>
                    <a:lnTo>
                      <a:pt x="2234" y="1862"/>
                    </a:lnTo>
                    <a:lnTo>
                      <a:pt x="2216" y="1876"/>
                    </a:lnTo>
                    <a:lnTo>
                      <a:pt x="2196" y="1888"/>
                    </a:lnTo>
                    <a:lnTo>
                      <a:pt x="2174" y="1896"/>
                    </a:lnTo>
                    <a:lnTo>
                      <a:pt x="2154" y="1900"/>
                    </a:lnTo>
                    <a:lnTo>
                      <a:pt x="2132" y="1904"/>
                    </a:lnTo>
                    <a:lnTo>
                      <a:pt x="2110" y="1904"/>
                    </a:lnTo>
                    <a:lnTo>
                      <a:pt x="2088" y="1902"/>
                    </a:lnTo>
                    <a:lnTo>
                      <a:pt x="2068" y="1896"/>
                    </a:lnTo>
                    <a:lnTo>
                      <a:pt x="2046" y="1890"/>
                    </a:lnTo>
                    <a:lnTo>
                      <a:pt x="2028" y="1882"/>
                    </a:lnTo>
                    <a:lnTo>
                      <a:pt x="2008" y="1872"/>
                    </a:lnTo>
                    <a:lnTo>
                      <a:pt x="1992" y="1860"/>
                    </a:lnTo>
                    <a:lnTo>
                      <a:pt x="1992" y="1860"/>
                    </a:lnTo>
                    <a:lnTo>
                      <a:pt x="1988" y="1884"/>
                    </a:lnTo>
                    <a:lnTo>
                      <a:pt x="1980" y="1908"/>
                    </a:lnTo>
                    <a:lnTo>
                      <a:pt x="1968" y="1938"/>
                    </a:lnTo>
                    <a:lnTo>
                      <a:pt x="1960" y="1954"/>
                    </a:lnTo>
                    <a:lnTo>
                      <a:pt x="1950" y="1968"/>
                    </a:lnTo>
                    <a:lnTo>
                      <a:pt x="1938" y="1984"/>
                    </a:lnTo>
                    <a:lnTo>
                      <a:pt x="1924" y="1996"/>
                    </a:lnTo>
                    <a:lnTo>
                      <a:pt x="1908" y="2010"/>
                    </a:lnTo>
                    <a:lnTo>
                      <a:pt x="1888" y="2020"/>
                    </a:lnTo>
                    <a:lnTo>
                      <a:pt x="1868" y="2028"/>
                    </a:lnTo>
                    <a:lnTo>
                      <a:pt x="1844" y="2034"/>
                    </a:lnTo>
                    <a:lnTo>
                      <a:pt x="1844" y="2034"/>
                    </a:lnTo>
                    <a:lnTo>
                      <a:pt x="1820" y="2038"/>
                    </a:lnTo>
                    <a:lnTo>
                      <a:pt x="1796" y="2040"/>
                    </a:lnTo>
                    <a:lnTo>
                      <a:pt x="1776" y="2040"/>
                    </a:lnTo>
                    <a:lnTo>
                      <a:pt x="1756" y="2040"/>
                    </a:lnTo>
                    <a:lnTo>
                      <a:pt x="1720" y="2036"/>
                    </a:lnTo>
                    <a:lnTo>
                      <a:pt x="1690" y="2030"/>
                    </a:lnTo>
                    <a:lnTo>
                      <a:pt x="1668" y="2022"/>
                    </a:lnTo>
                    <a:lnTo>
                      <a:pt x="1652" y="2016"/>
                    </a:lnTo>
                    <a:lnTo>
                      <a:pt x="1638" y="2008"/>
                    </a:lnTo>
                    <a:lnTo>
                      <a:pt x="1638" y="2008"/>
                    </a:lnTo>
                    <a:lnTo>
                      <a:pt x="1628" y="2032"/>
                    </a:lnTo>
                    <a:lnTo>
                      <a:pt x="1614" y="2056"/>
                    </a:lnTo>
                    <a:lnTo>
                      <a:pt x="1594" y="2084"/>
                    </a:lnTo>
                    <a:lnTo>
                      <a:pt x="1580" y="2098"/>
                    </a:lnTo>
                    <a:lnTo>
                      <a:pt x="1566" y="2112"/>
                    </a:lnTo>
                    <a:lnTo>
                      <a:pt x="1550" y="2126"/>
                    </a:lnTo>
                    <a:lnTo>
                      <a:pt x="1532" y="2138"/>
                    </a:lnTo>
                    <a:lnTo>
                      <a:pt x="1512" y="2148"/>
                    </a:lnTo>
                    <a:lnTo>
                      <a:pt x="1490" y="2158"/>
                    </a:lnTo>
                    <a:lnTo>
                      <a:pt x="1466" y="2164"/>
                    </a:lnTo>
                    <a:lnTo>
                      <a:pt x="1440" y="2168"/>
                    </a:lnTo>
                    <a:lnTo>
                      <a:pt x="1440" y="2168"/>
                    </a:lnTo>
                    <a:lnTo>
                      <a:pt x="1414" y="2170"/>
                    </a:lnTo>
                    <a:lnTo>
                      <a:pt x="1388" y="2168"/>
                    </a:lnTo>
                    <a:lnTo>
                      <a:pt x="1366" y="2164"/>
                    </a:lnTo>
                    <a:lnTo>
                      <a:pt x="1344" y="2160"/>
                    </a:lnTo>
                    <a:lnTo>
                      <a:pt x="1324" y="2154"/>
                    </a:lnTo>
                    <a:lnTo>
                      <a:pt x="1306" y="2146"/>
                    </a:lnTo>
                    <a:lnTo>
                      <a:pt x="1288" y="2138"/>
                    </a:lnTo>
                    <a:lnTo>
                      <a:pt x="1274" y="2130"/>
                    </a:lnTo>
                    <a:lnTo>
                      <a:pt x="1248" y="2112"/>
                    </a:lnTo>
                    <a:lnTo>
                      <a:pt x="1230" y="2098"/>
                    </a:lnTo>
                    <a:lnTo>
                      <a:pt x="1214" y="2082"/>
                    </a:lnTo>
                    <a:lnTo>
                      <a:pt x="1214" y="2082"/>
                    </a:lnTo>
                    <a:lnTo>
                      <a:pt x="1210" y="2088"/>
                    </a:lnTo>
                    <a:lnTo>
                      <a:pt x="1196" y="2102"/>
                    </a:lnTo>
                    <a:lnTo>
                      <a:pt x="1172" y="2124"/>
                    </a:lnTo>
                    <a:lnTo>
                      <a:pt x="1158" y="2134"/>
                    </a:lnTo>
                    <a:lnTo>
                      <a:pt x="1142" y="2144"/>
                    </a:lnTo>
                    <a:lnTo>
                      <a:pt x="1122" y="2154"/>
                    </a:lnTo>
                    <a:lnTo>
                      <a:pt x="1102" y="2162"/>
                    </a:lnTo>
                    <a:lnTo>
                      <a:pt x="1080" y="2170"/>
                    </a:lnTo>
                    <a:lnTo>
                      <a:pt x="1056" y="2174"/>
                    </a:lnTo>
                    <a:lnTo>
                      <a:pt x="1030" y="2176"/>
                    </a:lnTo>
                    <a:lnTo>
                      <a:pt x="1004" y="2174"/>
                    </a:lnTo>
                    <a:lnTo>
                      <a:pt x="974" y="2170"/>
                    </a:lnTo>
                    <a:lnTo>
                      <a:pt x="944" y="2160"/>
                    </a:lnTo>
                    <a:lnTo>
                      <a:pt x="944" y="2160"/>
                    </a:lnTo>
                    <a:lnTo>
                      <a:pt x="928" y="2152"/>
                    </a:lnTo>
                    <a:lnTo>
                      <a:pt x="910" y="2144"/>
                    </a:lnTo>
                    <a:lnTo>
                      <a:pt x="870" y="2118"/>
                    </a:lnTo>
                    <a:lnTo>
                      <a:pt x="824" y="2086"/>
                    </a:lnTo>
                    <a:lnTo>
                      <a:pt x="774" y="2046"/>
                    </a:lnTo>
                    <a:lnTo>
                      <a:pt x="724" y="2002"/>
                    </a:lnTo>
                    <a:lnTo>
                      <a:pt x="670" y="1954"/>
                    </a:lnTo>
                    <a:lnTo>
                      <a:pt x="564" y="1856"/>
                    </a:lnTo>
                    <a:lnTo>
                      <a:pt x="466" y="1760"/>
                    </a:lnTo>
                    <a:lnTo>
                      <a:pt x="386" y="1678"/>
                    </a:lnTo>
                    <a:lnTo>
                      <a:pt x="310" y="1598"/>
                    </a:lnTo>
                    <a:lnTo>
                      <a:pt x="310" y="1598"/>
                    </a:lnTo>
                    <a:lnTo>
                      <a:pt x="288" y="1570"/>
                    </a:lnTo>
                    <a:lnTo>
                      <a:pt x="262" y="1540"/>
                    </a:lnTo>
                    <a:lnTo>
                      <a:pt x="232" y="1506"/>
                    </a:lnTo>
                    <a:lnTo>
                      <a:pt x="198" y="1472"/>
                    </a:lnTo>
                    <a:lnTo>
                      <a:pt x="164" y="1442"/>
                    </a:lnTo>
                    <a:lnTo>
                      <a:pt x="148" y="1428"/>
                    </a:lnTo>
                    <a:lnTo>
                      <a:pt x="132" y="1418"/>
                    </a:lnTo>
                    <a:lnTo>
                      <a:pt x="116" y="1412"/>
                    </a:lnTo>
                    <a:lnTo>
                      <a:pt x="102" y="1408"/>
                    </a:lnTo>
                    <a:lnTo>
                      <a:pt x="102" y="1408"/>
                    </a:lnTo>
                    <a:lnTo>
                      <a:pt x="58" y="1404"/>
                    </a:lnTo>
                    <a:lnTo>
                      <a:pt x="28" y="1404"/>
                    </a:lnTo>
                    <a:lnTo>
                      <a:pt x="12" y="1406"/>
                    </a:lnTo>
                    <a:lnTo>
                      <a:pt x="8" y="1408"/>
                    </a:lnTo>
                    <a:lnTo>
                      <a:pt x="0" y="3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68" name="Freeform 7">
                <a:extLst>
                  <a:ext uri="{FF2B5EF4-FFF2-40B4-BE49-F238E27FC236}">
                    <a16:creationId xmlns:a16="http://schemas.microsoft.com/office/drawing/2014/main" id="{0B68C815-CA72-4A6D-97AB-1394AD3E36B9}"/>
                  </a:ext>
                </a:extLst>
              </p:cNvPr>
              <p:cNvSpPr>
                <a:spLocks noEditPoints="1"/>
              </p:cNvSpPr>
              <p:nvPr/>
            </p:nvSpPr>
            <p:spPr bwMode="auto">
              <a:xfrm>
                <a:off x="5246" y="1201"/>
                <a:ext cx="642" cy="2048"/>
              </a:xfrm>
              <a:custGeom>
                <a:avLst/>
                <a:gdLst>
                  <a:gd name="T0" fmla="*/ 0 w 642"/>
                  <a:gd name="T1" fmla="*/ 2048 h 2048"/>
                  <a:gd name="T2" fmla="*/ 642 w 642"/>
                  <a:gd name="T3" fmla="*/ 0 h 2048"/>
                  <a:gd name="T4" fmla="*/ 258 w 642"/>
                  <a:gd name="T5" fmla="*/ 1924 h 2048"/>
                  <a:gd name="T6" fmla="*/ 244 w 642"/>
                  <a:gd name="T7" fmla="*/ 1924 h 2048"/>
                  <a:gd name="T8" fmla="*/ 220 w 642"/>
                  <a:gd name="T9" fmla="*/ 1918 h 2048"/>
                  <a:gd name="T10" fmla="*/ 196 w 642"/>
                  <a:gd name="T11" fmla="*/ 1908 h 2048"/>
                  <a:gd name="T12" fmla="*/ 174 w 642"/>
                  <a:gd name="T13" fmla="*/ 1894 h 2048"/>
                  <a:gd name="T14" fmla="*/ 158 w 642"/>
                  <a:gd name="T15" fmla="*/ 1878 h 2048"/>
                  <a:gd name="T16" fmla="*/ 144 w 642"/>
                  <a:gd name="T17" fmla="*/ 1856 h 2048"/>
                  <a:gd name="T18" fmla="*/ 134 w 642"/>
                  <a:gd name="T19" fmla="*/ 1832 h 2048"/>
                  <a:gd name="T20" fmla="*/ 128 w 642"/>
                  <a:gd name="T21" fmla="*/ 1808 h 2048"/>
                  <a:gd name="T22" fmla="*/ 128 w 642"/>
                  <a:gd name="T23" fmla="*/ 1794 h 2048"/>
                  <a:gd name="T24" fmla="*/ 130 w 642"/>
                  <a:gd name="T25" fmla="*/ 1768 h 2048"/>
                  <a:gd name="T26" fmla="*/ 138 w 642"/>
                  <a:gd name="T27" fmla="*/ 1744 h 2048"/>
                  <a:gd name="T28" fmla="*/ 150 w 642"/>
                  <a:gd name="T29" fmla="*/ 1720 h 2048"/>
                  <a:gd name="T30" fmla="*/ 166 w 642"/>
                  <a:gd name="T31" fmla="*/ 1702 h 2048"/>
                  <a:gd name="T32" fmla="*/ 184 w 642"/>
                  <a:gd name="T33" fmla="*/ 1686 h 2048"/>
                  <a:gd name="T34" fmla="*/ 208 w 642"/>
                  <a:gd name="T35" fmla="*/ 1674 h 2048"/>
                  <a:gd name="T36" fmla="*/ 232 w 642"/>
                  <a:gd name="T37" fmla="*/ 1666 h 2048"/>
                  <a:gd name="T38" fmla="*/ 258 w 642"/>
                  <a:gd name="T39" fmla="*/ 1664 h 2048"/>
                  <a:gd name="T40" fmla="*/ 272 w 642"/>
                  <a:gd name="T41" fmla="*/ 1664 h 2048"/>
                  <a:gd name="T42" fmla="*/ 296 w 642"/>
                  <a:gd name="T43" fmla="*/ 1670 h 2048"/>
                  <a:gd name="T44" fmla="*/ 320 w 642"/>
                  <a:gd name="T45" fmla="*/ 1680 h 2048"/>
                  <a:gd name="T46" fmla="*/ 342 w 642"/>
                  <a:gd name="T47" fmla="*/ 1694 h 2048"/>
                  <a:gd name="T48" fmla="*/ 358 w 642"/>
                  <a:gd name="T49" fmla="*/ 1710 h 2048"/>
                  <a:gd name="T50" fmla="*/ 372 w 642"/>
                  <a:gd name="T51" fmla="*/ 1732 h 2048"/>
                  <a:gd name="T52" fmla="*/ 382 w 642"/>
                  <a:gd name="T53" fmla="*/ 1756 h 2048"/>
                  <a:gd name="T54" fmla="*/ 388 w 642"/>
                  <a:gd name="T55" fmla="*/ 1780 h 2048"/>
                  <a:gd name="T56" fmla="*/ 388 w 642"/>
                  <a:gd name="T57" fmla="*/ 1794 h 2048"/>
                  <a:gd name="T58" fmla="*/ 386 w 642"/>
                  <a:gd name="T59" fmla="*/ 1820 h 2048"/>
                  <a:gd name="T60" fmla="*/ 378 w 642"/>
                  <a:gd name="T61" fmla="*/ 1844 h 2048"/>
                  <a:gd name="T62" fmla="*/ 366 w 642"/>
                  <a:gd name="T63" fmla="*/ 1868 h 2048"/>
                  <a:gd name="T64" fmla="*/ 350 w 642"/>
                  <a:gd name="T65" fmla="*/ 1886 h 2048"/>
                  <a:gd name="T66" fmla="*/ 332 w 642"/>
                  <a:gd name="T67" fmla="*/ 1902 h 2048"/>
                  <a:gd name="T68" fmla="*/ 308 w 642"/>
                  <a:gd name="T69" fmla="*/ 1914 h 2048"/>
                  <a:gd name="T70" fmla="*/ 284 w 642"/>
                  <a:gd name="T71" fmla="*/ 1922 h 2048"/>
                  <a:gd name="T72" fmla="*/ 258 w 642"/>
                  <a:gd name="T73" fmla="*/ 192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2" h="2048">
                    <a:moveTo>
                      <a:pt x="0" y="0"/>
                    </a:moveTo>
                    <a:lnTo>
                      <a:pt x="0" y="2048"/>
                    </a:lnTo>
                    <a:lnTo>
                      <a:pt x="642" y="2048"/>
                    </a:lnTo>
                    <a:lnTo>
                      <a:pt x="642" y="0"/>
                    </a:lnTo>
                    <a:lnTo>
                      <a:pt x="0" y="0"/>
                    </a:lnTo>
                    <a:close/>
                    <a:moveTo>
                      <a:pt x="258" y="1924"/>
                    </a:moveTo>
                    <a:lnTo>
                      <a:pt x="258" y="1924"/>
                    </a:lnTo>
                    <a:lnTo>
                      <a:pt x="244" y="1924"/>
                    </a:lnTo>
                    <a:lnTo>
                      <a:pt x="232" y="1922"/>
                    </a:lnTo>
                    <a:lnTo>
                      <a:pt x="220" y="1918"/>
                    </a:lnTo>
                    <a:lnTo>
                      <a:pt x="208" y="1914"/>
                    </a:lnTo>
                    <a:lnTo>
                      <a:pt x="196" y="1908"/>
                    </a:lnTo>
                    <a:lnTo>
                      <a:pt x="184" y="1902"/>
                    </a:lnTo>
                    <a:lnTo>
                      <a:pt x="174" y="1894"/>
                    </a:lnTo>
                    <a:lnTo>
                      <a:pt x="166" y="1886"/>
                    </a:lnTo>
                    <a:lnTo>
                      <a:pt x="158" y="1878"/>
                    </a:lnTo>
                    <a:lnTo>
                      <a:pt x="150" y="1868"/>
                    </a:lnTo>
                    <a:lnTo>
                      <a:pt x="144" y="1856"/>
                    </a:lnTo>
                    <a:lnTo>
                      <a:pt x="138" y="1844"/>
                    </a:lnTo>
                    <a:lnTo>
                      <a:pt x="134" y="1832"/>
                    </a:lnTo>
                    <a:lnTo>
                      <a:pt x="130" y="1820"/>
                    </a:lnTo>
                    <a:lnTo>
                      <a:pt x="128" y="1808"/>
                    </a:lnTo>
                    <a:lnTo>
                      <a:pt x="128" y="1794"/>
                    </a:lnTo>
                    <a:lnTo>
                      <a:pt x="128" y="1794"/>
                    </a:lnTo>
                    <a:lnTo>
                      <a:pt x="128" y="1780"/>
                    </a:lnTo>
                    <a:lnTo>
                      <a:pt x="130" y="1768"/>
                    </a:lnTo>
                    <a:lnTo>
                      <a:pt x="134" y="1756"/>
                    </a:lnTo>
                    <a:lnTo>
                      <a:pt x="138" y="1744"/>
                    </a:lnTo>
                    <a:lnTo>
                      <a:pt x="144" y="1732"/>
                    </a:lnTo>
                    <a:lnTo>
                      <a:pt x="150" y="1720"/>
                    </a:lnTo>
                    <a:lnTo>
                      <a:pt x="158" y="1710"/>
                    </a:lnTo>
                    <a:lnTo>
                      <a:pt x="166" y="1702"/>
                    </a:lnTo>
                    <a:lnTo>
                      <a:pt x="174" y="1694"/>
                    </a:lnTo>
                    <a:lnTo>
                      <a:pt x="184" y="1686"/>
                    </a:lnTo>
                    <a:lnTo>
                      <a:pt x="196" y="1680"/>
                    </a:lnTo>
                    <a:lnTo>
                      <a:pt x="208" y="1674"/>
                    </a:lnTo>
                    <a:lnTo>
                      <a:pt x="220" y="1670"/>
                    </a:lnTo>
                    <a:lnTo>
                      <a:pt x="232" y="1666"/>
                    </a:lnTo>
                    <a:lnTo>
                      <a:pt x="244" y="1664"/>
                    </a:lnTo>
                    <a:lnTo>
                      <a:pt x="258" y="1664"/>
                    </a:lnTo>
                    <a:lnTo>
                      <a:pt x="258" y="1664"/>
                    </a:lnTo>
                    <a:lnTo>
                      <a:pt x="272" y="1664"/>
                    </a:lnTo>
                    <a:lnTo>
                      <a:pt x="284" y="1666"/>
                    </a:lnTo>
                    <a:lnTo>
                      <a:pt x="296" y="1670"/>
                    </a:lnTo>
                    <a:lnTo>
                      <a:pt x="308" y="1674"/>
                    </a:lnTo>
                    <a:lnTo>
                      <a:pt x="320" y="1680"/>
                    </a:lnTo>
                    <a:lnTo>
                      <a:pt x="332" y="1686"/>
                    </a:lnTo>
                    <a:lnTo>
                      <a:pt x="342" y="1694"/>
                    </a:lnTo>
                    <a:lnTo>
                      <a:pt x="350" y="1702"/>
                    </a:lnTo>
                    <a:lnTo>
                      <a:pt x="358" y="1710"/>
                    </a:lnTo>
                    <a:lnTo>
                      <a:pt x="366" y="1720"/>
                    </a:lnTo>
                    <a:lnTo>
                      <a:pt x="372" y="1732"/>
                    </a:lnTo>
                    <a:lnTo>
                      <a:pt x="378" y="1744"/>
                    </a:lnTo>
                    <a:lnTo>
                      <a:pt x="382" y="1756"/>
                    </a:lnTo>
                    <a:lnTo>
                      <a:pt x="386" y="1768"/>
                    </a:lnTo>
                    <a:lnTo>
                      <a:pt x="388" y="1780"/>
                    </a:lnTo>
                    <a:lnTo>
                      <a:pt x="388" y="1794"/>
                    </a:lnTo>
                    <a:lnTo>
                      <a:pt x="388" y="1794"/>
                    </a:lnTo>
                    <a:lnTo>
                      <a:pt x="388" y="1808"/>
                    </a:lnTo>
                    <a:lnTo>
                      <a:pt x="386" y="1820"/>
                    </a:lnTo>
                    <a:lnTo>
                      <a:pt x="382" y="1832"/>
                    </a:lnTo>
                    <a:lnTo>
                      <a:pt x="378" y="1844"/>
                    </a:lnTo>
                    <a:lnTo>
                      <a:pt x="372" y="1856"/>
                    </a:lnTo>
                    <a:lnTo>
                      <a:pt x="366" y="1868"/>
                    </a:lnTo>
                    <a:lnTo>
                      <a:pt x="358" y="1878"/>
                    </a:lnTo>
                    <a:lnTo>
                      <a:pt x="350" y="1886"/>
                    </a:lnTo>
                    <a:lnTo>
                      <a:pt x="342" y="1894"/>
                    </a:lnTo>
                    <a:lnTo>
                      <a:pt x="332" y="1902"/>
                    </a:lnTo>
                    <a:lnTo>
                      <a:pt x="320" y="1908"/>
                    </a:lnTo>
                    <a:lnTo>
                      <a:pt x="308" y="1914"/>
                    </a:lnTo>
                    <a:lnTo>
                      <a:pt x="296" y="1918"/>
                    </a:lnTo>
                    <a:lnTo>
                      <a:pt x="284" y="1922"/>
                    </a:lnTo>
                    <a:lnTo>
                      <a:pt x="272" y="1924"/>
                    </a:lnTo>
                    <a:lnTo>
                      <a:pt x="258" y="1924"/>
                    </a:lnTo>
                    <a:lnTo>
                      <a:pt x="258" y="19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69" name="Freeform 8">
                <a:extLst>
                  <a:ext uri="{FF2B5EF4-FFF2-40B4-BE49-F238E27FC236}">
                    <a16:creationId xmlns:a16="http://schemas.microsoft.com/office/drawing/2014/main" id="{D62BD339-ADB7-4DD0-AA5B-95D38A0E0DFA}"/>
                  </a:ext>
                </a:extLst>
              </p:cNvPr>
              <p:cNvSpPr>
                <a:spLocks noEditPoints="1"/>
              </p:cNvSpPr>
              <p:nvPr/>
            </p:nvSpPr>
            <p:spPr bwMode="auto">
              <a:xfrm>
                <a:off x="1792" y="1201"/>
                <a:ext cx="642" cy="2048"/>
              </a:xfrm>
              <a:custGeom>
                <a:avLst/>
                <a:gdLst>
                  <a:gd name="T0" fmla="*/ 0 w 642"/>
                  <a:gd name="T1" fmla="*/ 2048 h 2048"/>
                  <a:gd name="T2" fmla="*/ 642 w 642"/>
                  <a:gd name="T3" fmla="*/ 0 h 2048"/>
                  <a:gd name="T4" fmla="*/ 254 w 642"/>
                  <a:gd name="T5" fmla="*/ 1794 h 2048"/>
                  <a:gd name="T6" fmla="*/ 254 w 642"/>
                  <a:gd name="T7" fmla="*/ 1780 h 2048"/>
                  <a:gd name="T8" fmla="*/ 260 w 642"/>
                  <a:gd name="T9" fmla="*/ 1756 h 2048"/>
                  <a:gd name="T10" fmla="*/ 270 w 642"/>
                  <a:gd name="T11" fmla="*/ 1732 h 2048"/>
                  <a:gd name="T12" fmla="*/ 284 w 642"/>
                  <a:gd name="T13" fmla="*/ 1710 h 2048"/>
                  <a:gd name="T14" fmla="*/ 300 w 642"/>
                  <a:gd name="T15" fmla="*/ 1694 h 2048"/>
                  <a:gd name="T16" fmla="*/ 322 w 642"/>
                  <a:gd name="T17" fmla="*/ 1680 h 2048"/>
                  <a:gd name="T18" fmla="*/ 346 w 642"/>
                  <a:gd name="T19" fmla="*/ 1670 h 2048"/>
                  <a:gd name="T20" fmla="*/ 370 w 642"/>
                  <a:gd name="T21" fmla="*/ 1664 h 2048"/>
                  <a:gd name="T22" fmla="*/ 384 w 642"/>
                  <a:gd name="T23" fmla="*/ 1664 h 2048"/>
                  <a:gd name="T24" fmla="*/ 410 w 642"/>
                  <a:gd name="T25" fmla="*/ 1666 h 2048"/>
                  <a:gd name="T26" fmla="*/ 434 w 642"/>
                  <a:gd name="T27" fmla="*/ 1674 h 2048"/>
                  <a:gd name="T28" fmla="*/ 458 w 642"/>
                  <a:gd name="T29" fmla="*/ 1686 h 2048"/>
                  <a:gd name="T30" fmla="*/ 476 w 642"/>
                  <a:gd name="T31" fmla="*/ 1702 h 2048"/>
                  <a:gd name="T32" fmla="*/ 492 w 642"/>
                  <a:gd name="T33" fmla="*/ 1720 h 2048"/>
                  <a:gd name="T34" fmla="*/ 504 w 642"/>
                  <a:gd name="T35" fmla="*/ 1744 h 2048"/>
                  <a:gd name="T36" fmla="*/ 512 w 642"/>
                  <a:gd name="T37" fmla="*/ 1768 h 2048"/>
                  <a:gd name="T38" fmla="*/ 514 w 642"/>
                  <a:gd name="T39" fmla="*/ 1794 h 2048"/>
                  <a:gd name="T40" fmla="*/ 514 w 642"/>
                  <a:gd name="T41" fmla="*/ 1808 h 2048"/>
                  <a:gd name="T42" fmla="*/ 508 w 642"/>
                  <a:gd name="T43" fmla="*/ 1832 h 2048"/>
                  <a:gd name="T44" fmla="*/ 498 w 642"/>
                  <a:gd name="T45" fmla="*/ 1856 h 2048"/>
                  <a:gd name="T46" fmla="*/ 484 w 642"/>
                  <a:gd name="T47" fmla="*/ 1878 h 2048"/>
                  <a:gd name="T48" fmla="*/ 468 w 642"/>
                  <a:gd name="T49" fmla="*/ 1894 h 2048"/>
                  <a:gd name="T50" fmla="*/ 446 w 642"/>
                  <a:gd name="T51" fmla="*/ 1908 h 2048"/>
                  <a:gd name="T52" fmla="*/ 422 w 642"/>
                  <a:gd name="T53" fmla="*/ 1918 h 2048"/>
                  <a:gd name="T54" fmla="*/ 398 w 642"/>
                  <a:gd name="T55" fmla="*/ 1924 h 2048"/>
                  <a:gd name="T56" fmla="*/ 384 w 642"/>
                  <a:gd name="T57" fmla="*/ 1924 h 2048"/>
                  <a:gd name="T58" fmla="*/ 358 w 642"/>
                  <a:gd name="T59" fmla="*/ 1922 h 2048"/>
                  <a:gd name="T60" fmla="*/ 334 w 642"/>
                  <a:gd name="T61" fmla="*/ 1914 h 2048"/>
                  <a:gd name="T62" fmla="*/ 310 w 642"/>
                  <a:gd name="T63" fmla="*/ 1902 h 2048"/>
                  <a:gd name="T64" fmla="*/ 292 w 642"/>
                  <a:gd name="T65" fmla="*/ 1886 h 2048"/>
                  <a:gd name="T66" fmla="*/ 276 w 642"/>
                  <a:gd name="T67" fmla="*/ 1868 h 2048"/>
                  <a:gd name="T68" fmla="*/ 264 w 642"/>
                  <a:gd name="T69" fmla="*/ 1844 h 2048"/>
                  <a:gd name="T70" fmla="*/ 256 w 642"/>
                  <a:gd name="T71" fmla="*/ 1820 h 2048"/>
                  <a:gd name="T72" fmla="*/ 254 w 642"/>
                  <a:gd name="T73" fmla="*/ 179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2" h="2048">
                    <a:moveTo>
                      <a:pt x="0" y="0"/>
                    </a:moveTo>
                    <a:lnTo>
                      <a:pt x="0" y="2048"/>
                    </a:lnTo>
                    <a:lnTo>
                      <a:pt x="642" y="2048"/>
                    </a:lnTo>
                    <a:lnTo>
                      <a:pt x="642" y="0"/>
                    </a:lnTo>
                    <a:lnTo>
                      <a:pt x="0" y="0"/>
                    </a:lnTo>
                    <a:close/>
                    <a:moveTo>
                      <a:pt x="254" y="1794"/>
                    </a:moveTo>
                    <a:lnTo>
                      <a:pt x="254" y="1794"/>
                    </a:lnTo>
                    <a:lnTo>
                      <a:pt x="254" y="1780"/>
                    </a:lnTo>
                    <a:lnTo>
                      <a:pt x="256" y="1768"/>
                    </a:lnTo>
                    <a:lnTo>
                      <a:pt x="260" y="1756"/>
                    </a:lnTo>
                    <a:lnTo>
                      <a:pt x="264" y="1744"/>
                    </a:lnTo>
                    <a:lnTo>
                      <a:pt x="270" y="1732"/>
                    </a:lnTo>
                    <a:lnTo>
                      <a:pt x="276" y="1720"/>
                    </a:lnTo>
                    <a:lnTo>
                      <a:pt x="284" y="1710"/>
                    </a:lnTo>
                    <a:lnTo>
                      <a:pt x="292" y="1702"/>
                    </a:lnTo>
                    <a:lnTo>
                      <a:pt x="300" y="1694"/>
                    </a:lnTo>
                    <a:lnTo>
                      <a:pt x="310" y="1686"/>
                    </a:lnTo>
                    <a:lnTo>
                      <a:pt x="322" y="1680"/>
                    </a:lnTo>
                    <a:lnTo>
                      <a:pt x="334" y="1674"/>
                    </a:lnTo>
                    <a:lnTo>
                      <a:pt x="346" y="1670"/>
                    </a:lnTo>
                    <a:lnTo>
                      <a:pt x="358" y="1666"/>
                    </a:lnTo>
                    <a:lnTo>
                      <a:pt x="370" y="1664"/>
                    </a:lnTo>
                    <a:lnTo>
                      <a:pt x="384" y="1664"/>
                    </a:lnTo>
                    <a:lnTo>
                      <a:pt x="384" y="1664"/>
                    </a:lnTo>
                    <a:lnTo>
                      <a:pt x="398" y="1664"/>
                    </a:lnTo>
                    <a:lnTo>
                      <a:pt x="410" y="1666"/>
                    </a:lnTo>
                    <a:lnTo>
                      <a:pt x="422" y="1670"/>
                    </a:lnTo>
                    <a:lnTo>
                      <a:pt x="434" y="1674"/>
                    </a:lnTo>
                    <a:lnTo>
                      <a:pt x="446" y="1680"/>
                    </a:lnTo>
                    <a:lnTo>
                      <a:pt x="458" y="1686"/>
                    </a:lnTo>
                    <a:lnTo>
                      <a:pt x="468" y="1694"/>
                    </a:lnTo>
                    <a:lnTo>
                      <a:pt x="476" y="1702"/>
                    </a:lnTo>
                    <a:lnTo>
                      <a:pt x="484" y="1710"/>
                    </a:lnTo>
                    <a:lnTo>
                      <a:pt x="492" y="1720"/>
                    </a:lnTo>
                    <a:lnTo>
                      <a:pt x="498" y="1732"/>
                    </a:lnTo>
                    <a:lnTo>
                      <a:pt x="504" y="1744"/>
                    </a:lnTo>
                    <a:lnTo>
                      <a:pt x="508" y="1756"/>
                    </a:lnTo>
                    <a:lnTo>
                      <a:pt x="512" y="1768"/>
                    </a:lnTo>
                    <a:lnTo>
                      <a:pt x="514" y="1780"/>
                    </a:lnTo>
                    <a:lnTo>
                      <a:pt x="514" y="1794"/>
                    </a:lnTo>
                    <a:lnTo>
                      <a:pt x="514" y="1794"/>
                    </a:lnTo>
                    <a:lnTo>
                      <a:pt x="514" y="1808"/>
                    </a:lnTo>
                    <a:lnTo>
                      <a:pt x="512" y="1820"/>
                    </a:lnTo>
                    <a:lnTo>
                      <a:pt x="508" y="1832"/>
                    </a:lnTo>
                    <a:lnTo>
                      <a:pt x="504" y="1844"/>
                    </a:lnTo>
                    <a:lnTo>
                      <a:pt x="498" y="1856"/>
                    </a:lnTo>
                    <a:lnTo>
                      <a:pt x="492" y="1868"/>
                    </a:lnTo>
                    <a:lnTo>
                      <a:pt x="484" y="1878"/>
                    </a:lnTo>
                    <a:lnTo>
                      <a:pt x="476" y="1886"/>
                    </a:lnTo>
                    <a:lnTo>
                      <a:pt x="468" y="1894"/>
                    </a:lnTo>
                    <a:lnTo>
                      <a:pt x="458" y="1902"/>
                    </a:lnTo>
                    <a:lnTo>
                      <a:pt x="446" y="1908"/>
                    </a:lnTo>
                    <a:lnTo>
                      <a:pt x="434" y="1914"/>
                    </a:lnTo>
                    <a:lnTo>
                      <a:pt x="422" y="1918"/>
                    </a:lnTo>
                    <a:lnTo>
                      <a:pt x="410" y="1922"/>
                    </a:lnTo>
                    <a:lnTo>
                      <a:pt x="398" y="1924"/>
                    </a:lnTo>
                    <a:lnTo>
                      <a:pt x="384" y="1924"/>
                    </a:lnTo>
                    <a:lnTo>
                      <a:pt x="384" y="1924"/>
                    </a:lnTo>
                    <a:lnTo>
                      <a:pt x="370" y="1924"/>
                    </a:lnTo>
                    <a:lnTo>
                      <a:pt x="358" y="1922"/>
                    </a:lnTo>
                    <a:lnTo>
                      <a:pt x="346" y="1918"/>
                    </a:lnTo>
                    <a:lnTo>
                      <a:pt x="334" y="1914"/>
                    </a:lnTo>
                    <a:lnTo>
                      <a:pt x="322" y="1908"/>
                    </a:lnTo>
                    <a:lnTo>
                      <a:pt x="310" y="1902"/>
                    </a:lnTo>
                    <a:lnTo>
                      <a:pt x="300" y="1894"/>
                    </a:lnTo>
                    <a:lnTo>
                      <a:pt x="292" y="1886"/>
                    </a:lnTo>
                    <a:lnTo>
                      <a:pt x="284" y="1878"/>
                    </a:lnTo>
                    <a:lnTo>
                      <a:pt x="276" y="1868"/>
                    </a:lnTo>
                    <a:lnTo>
                      <a:pt x="270" y="1856"/>
                    </a:lnTo>
                    <a:lnTo>
                      <a:pt x="264" y="1844"/>
                    </a:lnTo>
                    <a:lnTo>
                      <a:pt x="260" y="1832"/>
                    </a:lnTo>
                    <a:lnTo>
                      <a:pt x="256" y="1820"/>
                    </a:lnTo>
                    <a:lnTo>
                      <a:pt x="254" y="1808"/>
                    </a:lnTo>
                    <a:lnTo>
                      <a:pt x="254" y="1794"/>
                    </a:lnTo>
                    <a:lnTo>
                      <a:pt x="254" y="17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grpSp>
        <p:sp>
          <p:nvSpPr>
            <p:cNvPr id="34" name="Content Placeholder 2">
              <a:extLst>
                <a:ext uri="{FF2B5EF4-FFF2-40B4-BE49-F238E27FC236}">
                  <a16:creationId xmlns:a16="http://schemas.microsoft.com/office/drawing/2014/main" id="{FC23BA1F-8C0E-4264-AF78-EA852D6E5236}"/>
                </a:ext>
              </a:extLst>
            </p:cNvPr>
            <p:cNvSpPr txBox="1">
              <a:spLocks/>
            </p:cNvSpPr>
            <p:nvPr/>
          </p:nvSpPr>
          <p:spPr>
            <a:xfrm>
              <a:off x="3355332" y="2607095"/>
              <a:ext cx="2139238" cy="193899"/>
            </a:xfrm>
            <a:prstGeom prst="rect">
              <a:avLst/>
            </a:prstGeom>
          </p:spPr>
          <p:txBody>
            <a:bodyPr wrap="square" lIns="0" tIns="0" rIns="0" bIns="0" anchor="t">
              <a:spAutoFit/>
            </a:bodyPr>
            <a:lstStyle>
              <a:defPPr>
                <a:defRPr lang="id-ID"/>
              </a:defPPr>
              <a:lvl1pPr algn="ctr">
                <a:defRPr sz="1400">
                  <a:solidFill>
                    <a:schemeClr val="accent2"/>
                  </a:solidFill>
                  <a:latin typeface="Century Gothic" panose="020B0502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300"/>
                </a:spcAft>
                <a:buClrTx/>
                <a:buSzTx/>
                <a:buFontTx/>
                <a:buNone/>
                <a:tabLst/>
                <a:defRPr/>
              </a:pPr>
              <a:r>
                <a:rPr lang="en-US" dirty="0">
                  <a:solidFill>
                    <a:schemeClr val="tx1"/>
                  </a:solidFill>
                  <a:latin typeface="+mn-lt"/>
                </a:rPr>
                <a:t>Preprocessing</a:t>
              </a:r>
              <a:endParaRPr kumimoji="0" lang="en-US" b="0" i="0" u="none" strike="noStrike" kern="1200" cap="none" spc="0" normalizeH="0" baseline="0" noProof="0" dirty="0">
                <a:ln>
                  <a:noFill/>
                </a:ln>
                <a:solidFill>
                  <a:schemeClr val="tx1"/>
                </a:solidFill>
                <a:effectLst/>
                <a:uLnTx/>
                <a:uFillTx/>
                <a:latin typeface="+mn-lt"/>
                <a:ea typeface="+mn-ea"/>
                <a:cs typeface="+mn-cs"/>
              </a:endParaRPr>
            </a:p>
          </p:txBody>
        </p:sp>
        <p:grpSp>
          <p:nvGrpSpPr>
            <p:cNvPr id="46" name="Group 45">
              <a:extLst>
                <a:ext uri="{FF2B5EF4-FFF2-40B4-BE49-F238E27FC236}">
                  <a16:creationId xmlns:a16="http://schemas.microsoft.com/office/drawing/2014/main" id="{A6D33443-9BE1-44D8-A678-7FC835D7F0E0}"/>
                </a:ext>
              </a:extLst>
            </p:cNvPr>
            <p:cNvGrpSpPr/>
            <p:nvPr/>
          </p:nvGrpSpPr>
          <p:grpSpPr>
            <a:xfrm>
              <a:off x="4242648" y="1989502"/>
              <a:ext cx="364606" cy="314313"/>
              <a:chOff x="10456863" y="1954213"/>
              <a:chExt cx="276225" cy="238125"/>
            </a:xfrm>
            <a:solidFill>
              <a:schemeClr val="accent1"/>
            </a:solidFill>
          </p:grpSpPr>
          <p:sp>
            <p:nvSpPr>
              <p:cNvPr id="63" name="Freeform 3638">
                <a:extLst>
                  <a:ext uri="{FF2B5EF4-FFF2-40B4-BE49-F238E27FC236}">
                    <a16:creationId xmlns:a16="http://schemas.microsoft.com/office/drawing/2014/main" id="{BB5C5835-418D-41D2-AC1A-9F74D8723843}"/>
                  </a:ext>
                </a:extLst>
              </p:cNvPr>
              <p:cNvSpPr>
                <a:spLocks/>
              </p:cNvSpPr>
              <p:nvPr/>
            </p:nvSpPr>
            <p:spPr bwMode="auto">
              <a:xfrm>
                <a:off x="10467975" y="1954213"/>
                <a:ext cx="236537" cy="95250"/>
              </a:xfrm>
              <a:custGeom>
                <a:avLst/>
                <a:gdLst>
                  <a:gd name="T0" fmla="*/ 599 w 599"/>
                  <a:gd name="T1" fmla="*/ 11 h 241"/>
                  <a:gd name="T2" fmla="*/ 591 w 599"/>
                  <a:gd name="T3" fmla="*/ 6 h 241"/>
                  <a:gd name="T4" fmla="*/ 582 w 599"/>
                  <a:gd name="T5" fmla="*/ 2 h 241"/>
                  <a:gd name="T6" fmla="*/ 572 w 599"/>
                  <a:gd name="T7" fmla="*/ 0 h 241"/>
                  <a:gd name="T8" fmla="*/ 560 w 599"/>
                  <a:gd name="T9" fmla="*/ 0 h 241"/>
                  <a:gd name="T10" fmla="*/ 46 w 599"/>
                  <a:gd name="T11" fmla="*/ 0 h 241"/>
                  <a:gd name="T12" fmla="*/ 33 w 599"/>
                  <a:gd name="T13" fmla="*/ 1 h 241"/>
                  <a:gd name="T14" fmla="*/ 21 w 599"/>
                  <a:gd name="T15" fmla="*/ 3 h 241"/>
                  <a:gd name="T16" fmla="*/ 9 w 599"/>
                  <a:gd name="T17" fmla="*/ 7 h 241"/>
                  <a:gd name="T18" fmla="*/ 0 w 599"/>
                  <a:gd name="T19" fmla="*/ 14 h 241"/>
                  <a:gd name="T20" fmla="*/ 315 w 599"/>
                  <a:gd name="T21" fmla="*/ 241 h 241"/>
                  <a:gd name="T22" fmla="*/ 599 w 599"/>
                  <a:gd name="T23" fmla="*/ 1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9" h="241">
                    <a:moveTo>
                      <a:pt x="599" y="11"/>
                    </a:moveTo>
                    <a:lnTo>
                      <a:pt x="591" y="6"/>
                    </a:lnTo>
                    <a:lnTo>
                      <a:pt x="582" y="2"/>
                    </a:lnTo>
                    <a:lnTo>
                      <a:pt x="572" y="0"/>
                    </a:lnTo>
                    <a:lnTo>
                      <a:pt x="560" y="0"/>
                    </a:lnTo>
                    <a:lnTo>
                      <a:pt x="46" y="0"/>
                    </a:lnTo>
                    <a:lnTo>
                      <a:pt x="33" y="1"/>
                    </a:lnTo>
                    <a:lnTo>
                      <a:pt x="21" y="3"/>
                    </a:lnTo>
                    <a:lnTo>
                      <a:pt x="9" y="7"/>
                    </a:lnTo>
                    <a:lnTo>
                      <a:pt x="0" y="14"/>
                    </a:lnTo>
                    <a:lnTo>
                      <a:pt x="315" y="241"/>
                    </a:lnTo>
                    <a:lnTo>
                      <a:pt x="599"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64" name="Freeform 3639">
                <a:extLst>
                  <a:ext uri="{FF2B5EF4-FFF2-40B4-BE49-F238E27FC236}">
                    <a16:creationId xmlns:a16="http://schemas.microsoft.com/office/drawing/2014/main" id="{B919657A-066C-4C64-B249-EF74942130F8}"/>
                  </a:ext>
                </a:extLst>
              </p:cNvPr>
              <p:cNvSpPr>
                <a:spLocks/>
              </p:cNvSpPr>
              <p:nvPr/>
            </p:nvSpPr>
            <p:spPr bwMode="auto">
              <a:xfrm>
                <a:off x="10456863" y="1966913"/>
                <a:ext cx="257175" cy="158750"/>
              </a:xfrm>
              <a:custGeom>
                <a:avLst/>
                <a:gdLst>
                  <a:gd name="T0" fmla="*/ 552 w 649"/>
                  <a:gd name="T1" fmla="*/ 257 h 402"/>
                  <a:gd name="T2" fmla="*/ 565 w 649"/>
                  <a:gd name="T3" fmla="*/ 258 h 402"/>
                  <a:gd name="T4" fmla="*/ 579 w 649"/>
                  <a:gd name="T5" fmla="*/ 260 h 402"/>
                  <a:gd name="T6" fmla="*/ 591 w 649"/>
                  <a:gd name="T7" fmla="*/ 262 h 402"/>
                  <a:gd name="T8" fmla="*/ 604 w 649"/>
                  <a:gd name="T9" fmla="*/ 266 h 402"/>
                  <a:gd name="T10" fmla="*/ 615 w 649"/>
                  <a:gd name="T11" fmla="*/ 270 h 402"/>
                  <a:gd name="T12" fmla="*/ 627 w 649"/>
                  <a:gd name="T13" fmla="*/ 275 h 402"/>
                  <a:gd name="T14" fmla="*/ 638 w 649"/>
                  <a:gd name="T15" fmla="*/ 282 h 402"/>
                  <a:gd name="T16" fmla="*/ 649 w 649"/>
                  <a:gd name="T17" fmla="*/ 288 h 402"/>
                  <a:gd name="T18" fmla="*/ 649 w 649"/>
                  <a:gd name="T19" fmla="*/ 40 h 402"/>
                  <a:gd name="T20" fmla="*/ 649 w 649"/>
                  <a:gd name="T21" fmla="*/ 29 h 402"/>
                  <a:gd name="T22" fmla="*/ 646 w 649"/>
                  <a:gd name="T23" fmla="*/ 18 h 402"/>
                  <a:gd name="T24" fmla="*/ 644 w 649"/>
                  <a:gd name="T25" fmla="*/ 9 h 402"/>
                  <a:gd name="T26" fmla="*/ 641 w 649"/>
                  <a:gd name="T27" fmla="*/ 0 h 402"/>
                  <a:gd name="T28" fmla="*/ 349 w 649"/>
                  <a:gd name="T29" fmla="*/ 235 h 402"/>
                  <a:gd name="T30" fmla="*/ 346 w 649"/>
                  <a:gd name="T31" fmla="*/ 238 h 402"/>
                  <a:gd name="T32" fmla="*/ 342 w 649"/>
                  <a:gd name="T33" fmla="*/ 238 h 402"/>
                  <a:gd name="T34" fmla="*/ 338 w 649"/>
                  <a:gd name="T35" fmla="*/ 238 h 402"/>
                  <a:gd name="T36" fmla="*/ 334 w 649"/>
                  <a:gd name="T37" fmla="*/ 237 h 402"/>
                  <a:gd name="T38" fmla="*/ 10 w 649"/>
                  <a:gd name="T39" fmla="*/ 2 h 402"/>
                  <a:gd name="T40" fmla="*/ 5 w 649"/>
                  <a:gd name="T41" fmla="*/ 11 h 402"/>
                  <a:gd name="T42" fmla="*/ 3 w 649"/>
                  <a:gd name="T43" fmla="*/ 20 h 402"/>
                  <a:gd name="T44" fmla="*/ 0 w 649"/>
                  <a:gd name="T45" fmla="*/ 29 h 402"/>
                  <a:gd name="T46" fmla="*/ 0 w 649"/>
                  <a:gd name="T47" fmla="*/ 40 h 402"/>
                  <a:gd name="T48" fmla="*/ 0 w 649"/>
                  <a:gd name="T49" fmla="*/ 329 h 402"/>
                  <a:gd name="T50" fmla="*/ 0 w 649"/>
                  <a:gd name="T51" fmla="*/ 337 h 402"/>
                  <a:gd name="T52" fmla="*/ 1 w 649"/>
                  <a:gd name="T53" fmla="*/ 343 h 402"/>
                  <a:gd name="T54" fmla="*/ 3 w 649"/>
                  <a:gd name="T55" fmla="*/ 351 h 402"/>
                  <a:gd name="T56" fmla="*/ 5 w 649"/>
                  <a:gd name="T57" fmla="*/ 357 h 402"/>
                  <a:gd name="T58" fmla="*/ 8 w 649"/>
                  <a:gd name="T59" fmla="*/ 362 h 402"/>
                  <a:gd name="T60" fmla="*/ 12 w 649"/>
                  <a:gd name="T61" fmla="*/ 369 h 402"/>
                  <a:gd name="T62" fmla="*/ 16 w 649"/>
                  <a:gd name="T63" fmla="*/ 374 h 402"/>
                  <a:gd name="T64" fmla="*/ 21 w 649"/>
                  <a:gd name="T65" fmla="*/ 379 h 402"/>
                  <a:gd name="T66" fmla="*/ 31 w 649"/>
                  <a:gd name="T67" fmla="*/ 388 h 402"/>
                  <a:gd name="T68" fmla="*/ 43 w 649"/>
                  <a:gd name="T69" fmla="*/ 395 h 402"/>
                  <a:gd name="T70" fmla="*/ 49 w 649"/>
                  <a:gd name="T71" fmla="*/ 397 h 402"/>
                  <a:gd name="T72" fmla="*/ 57 w 649"/>
                  <a:gd name="T73" fmla="*/ 400 h 402"/>
                  <a:gd name="T74" fmla="*/ 63 w 649"/>
                  <a:gd name="T75" fmla="*/ 401 h 402"/>
                  <a:gd name="T76" fmla="*/ 71 w 649"/>
                  <a:gd name="T77" fmla="*/ 402 h 402"/>
                  <a:gd name="T78" fmla="*/ 387 w 649"/>
                  <a:gd name="T79" fmla="*/ 402 h 402"/>
                  <a:gd name="T80" fmla="*/ 389 w 649"/>
                  <a:gd name="T81" fmla="*/ 387 h 402"/>
                  <a:gd name="T82" fmla="*/ 393 w 649"/>
                  <a:gd name="T83" fmla="*/ 373 h 402"/>
                  <a:gd name="T84" fmla="*/ 398 w 649"/>
                  <a:gd name="T85" fmla="*/ 359 h 402"/>
                  <a:gd name="T86" fmla="*/ 405 w 649"/>
                  <a:gd name="T87" fmla="*/ 345 h 402"/>
                  <a:gd name="T88" fmla="*/ 412 w 649"/>
                  <a:gd name="T89" fmla="*/ 332 h 402"/>
                  <a:gd name="T90" fmla="*/ 421 w 649"/>
                  <a:gd name="T91" fmla="*/ 320 h 402"/>
                  <a:gd name="T92" fmla="*/ 432 w 649"/>
                  <a:gd name="T93" fmla="*/ 310 h 402"/>
                  <a:gd name="T94" fmla="*/ 442 w 649"/>
                  <a:gd name="T95" fmla="*/ 300 h 402"/>
                  <a:gd name="T96" fmla="*/ 453 w 649"/>
                  <a:gd name="T97" fmla="*/ 291 h 402"/>
                  <a:gd name="T98" fmla="*/ 466 w 649"/>
                  <a:gd name="T99" fmla="*/ 282 h 402"/>
                  <a:gd name="T100" fmla="*/ 479 w 649"/>
                  <a:gd name="T101" fmla="*/ 275 h 402"/>
                  <a:gd name="T102" fmla="*/ 492 w 649"/>
                  <a:gd name="T103" fmla="*/ 269 h 402"/>
                  <a:gd name="T104" fmla="*/ 506 w 649"/>
                  <a:gd name="T105" fmla="*/ 264 h 402"/>
                  <a:gd name="T106" fmla="*/ 522 w 649"/>
                  <a:gd name="T107" fmla="*/ 261 h 402"/>
                  <a:gd name="T108" fmla="*/ 537 w 649"/>
                  <a:gd name="T109" fmla="*/ 258 h 402"/>
                  <a:gd name="T110" fmla="*/ 552 w 649"/>
                  <a:gd name="T111" fmla="*/ 257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49" h="402">
                    <a:moveTo>
                      <a:pt x="552" y="257"/>
                    </a:moveTo>
                    <a:lnTo>
                      <a:pt x="565" y="258"/>
                    </a:lnTo>
                    <a:lnTo>
                      <a:pt x="579" y="260"/>
                    </a:lnTo>
                    <a:lnTo>
                      <a:pt x="591" y="262"/>
                    </a:lnTo>
                    <a:lnTo>
                      <a:pt x="604" y="266"/>
                    </a:lnTo>
                    <a:lnTo>
                      <a:pt x="615" y="270"/>
                    </a:lnTo>
                    <a:lnTo>
                      <a:pt x="627" y="275"/>
                    </a:lnTo>
                    <a:lnTo>
                      <a:pt x="638" y="282"/>
                    </a:lnTo>
                    <a:lnTo>
                      <a:pt x="649" y="288"/>
                    </a:lnTo>
                    <a:lnTo>
                      <a:pt x="649" y="40"/>
                    </a:lnTo>
                    <a:lnTo>
                      <a:pt x="649" y="29"/>
                    </a:lnTo>
                    <a:lnTo>
                      <a:pt x="646" y="18"/>
                    </a:lnTo>
                    <a:lnTo>
                      <a:pt x="644" y="9"/>
                    </a:lnTo>
                    <a:lnTo>
                      <a:pt x="641" y="0"/>
                    </a:lnTo>
                    <a:lnTo>
                      <a:pt x="349" y="235"/>
                    </a:lnTo>
                    <a:lnTo>
                      <a:pt x="346" y="238"/>
                    </a:lnTo>
                    <a:lnTo>
                      <a:pt x="342" y="238"/>
                    </a:lnTo>
                    <a:lnTo>
                      <a:pt x="338" y="238"/>
                    </a:lnTo>
                    <a:lnTo>
                      <a:pt x="334" y="237"/>
                    </a:lnTo>
                    <a:lnTo>
                      <a:pt x="10" y="2"/>
                    </a:lnTo>
                    <a:lnTo>
                      <a:pt x="5" y="11"/>
                    </a:lnTo>
                    <a:lnTo>
                      <a:pt x="3" y="20"/>
                    </a:lnTo>
                    <a:lnTo>
                      <a:pt x="0" y="29"/>
                    </a:lnTo>
                    <a:lnTo>
                      <a:pt x="0" y="40"/>
                    </a:lnTo>
                    <a:lnTo>
                      <a:pt x="0" y="329"/>
                    </a:lnTo>
                    <a:lnTo>
                      <a:pt x="0" y="337"/>
                    </a:lnTo>
                    <a:lnTo>
                      <a:pt x="1" y="343"/>
                    </a:lnTo>
                    <a:lnTo>
                      <a:pt x="3" y="351"/>
                    </a:lnTo>
                    <a:lnTo>
                      <a:pt x="5" y="357"/>
                    </a:lnTo>
                    <a:lnTo>
                      <a:pt x="8" y="362"/>
                    </a:lnTo>
                    <a:lnTo>
                      <a:pt x="12" y="369"/>
                    </a:lnTo>
                    <a:lnTo>
                      <a:pt x="16" y="374"/>
                    </a:lnTo>
                    <a:lnTo>
                      <a:pt x="21" y="379"/>
                    </a:lnTo>
                    <a:lnTo>
                      <a:pt x="31" y="388"/>
                    </a:lnTo>
                    <a:lnTo>
                      <a:pt x="43" y="395"/>
                    </a:lnTo>
                    <a:lnTo>
                      <a:pt x="49" y="397"/>
                    </a:lnTo>
                    <a:lnTo>
                      <a:pt x="57" y="400"/>
                    </a:lnTo>
                    <a:lnTo>
                      <a:pt x="63" y="401"/>
                    </a:lnTo>
                    <a:lnTo>
                      <a:pt x="71" y="402"/>
                    </a:lnTo>
                    <a:lnTo>
                      <a:pt x="387" y="402"/>
                    </a:lnTo>
                    <a:lnTo>
                      <a:pt x="389" y="387"/>
                    </a:lnTo>
                    <a:lnTo>
                      <a:pt x="393" y="373"/>
                    </a:lnTo>
                    <a:lnTo>
                      <a:pt x="398" y="359"/>
                    </a:lnTo>
                    <a:lnTo>
                      <a:pt x="405" y="345"/>
                    </a:lnTo>
                    <a:lnTo>
                      <a:pt x="412" y="332"/>
                    </a:lnTo>
                    <a:lnTo>
                      <a:pt x="421" y="320"/>
                    </a:lnTo>
                    <a:lnTo>
                      <a:pt x="432" y="310"/>
                    </a:lnTo>
                    <a:lnTo>
                      <a:pt x="442" y="300"/>
                    </a:lnTo>
                    <a:lnTo>
                      <a:pt x="453" y="291"/>
                    </a:lnTo>
                    <a:lnTo>
                      <a:pt x="466" y="282"/>
                    </a:lnTo>
                    <a:lnTo>
                      <a:pt x="479" y="275"/>
                    </a:lnTo>
                    <a:lnTo>
                      <a:pt x="492" y="269"/>
                    </a:lnTo>
                    <a:lnTo>
                      <a:pt x="506" y="264"/>
                    </a:lnTo>
                    <a:lnTo>
                      <a:pt x="522" y="261"/>
                    </a:lnTo>
                    <a:lnTo>
                      <a:pt x="537" y="258"/>
                    </a:lnTo>
                    <a:lnTo>
                      <a:pt x="552" y="2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65" name="Freeform 3640">
                <a:extLst>
                  <a:ext uri="{FF2B5EF4-FFF2-40B4-BE49-F238E27FC236}">
                    <a16:creationId xmlns:a16="http://schemas.microsoft.com/office/drawing/2014/main" id="{DB0B9B61-59AB-4F7E-BE43-6AEC4B8698BF}"/>
                  </a:ext>
                </a:extLst>
              </p:cNvPr>
              <p:cNvSpPr>
                <a:spLocks noEditPoints="1"/>
              </p:cNvSpPr>
              <p:nvPr/>
            </p:nvSpPr>
            <p:spPr bwMode="auto">
              <a:xfrm>
                <a:off x="10618788" y="2078038"/>
                <a:ext cx="114300" cy="114300"/>
              </a:xfrm>
              <a:custGeom>
                <a:avLst/>
                <a:gdLst>
                  <a:gd name="T0" fmla="*/ 111 w 287"/>
                  <a:gd name="T1" fmla="*/ 253 h 289"/>
                  <a:gd name="T2" fmla="*/ 77 w 287"/>
                  <a:gd name="T3" fmla="*/ 235 h 289"/>
                  <a:gd name="T4" fmla="*/ 66 w 287"/>
                  <a:gd name="T5" fmla="*/ 242 h 289"/>
                  <a:gd name="T6" fmla="*/ 48 w 287"/>
                  <a:gd name="T7" fmla="*/ 242 h 289"/>
                  <a:gd name="T8" fmla="*/ 107 w 287"/>
                  <a:gd name="T9" fmla="*/ 181 h 289"/>
                  <a:gd name="T10" fmla="*/ 119 w 287"/>
                  <a:gd name="T11" fmla="*/ 192 h 289"/>
                  <a:gd name="T12" fmla="*/ 107 w 287"/>
                  <a:gd name="T13" fmla="*/ 204 h 289"/>
                  <a:gd name="T14" fmla="*/ 100 w 287"/>
                  <a:gd name="T15" fmla="*/ 220 h 289"/>
                  <a:gd name="T16" fmla="*/ 133 w 287"/>
                  <a:gd name="T17" fmla="*/ 232 h 289"/>
                  <a:gd name="T18" fmla="*/ 165 w 287"/>
                  <a:gd name="T19" fmla="*/ 228 h 289"/>
                  <a:gd name="T20" fmla="*/ 193 w 287"/>
                  <a:gd name="T21" fmla="*/ 214 h 289"/>
                  <a:gd name="T22" fmla="*/ 214 w 287"/>
                  <a:gd name="T23" fmla="*/ 190 h 289"/>
                  <a:gd name="T24" fmla="*/ 223 w 287"/>
                  <a:gd name="T25" fmla="*/ 159 h 289"/>
                  <a:gd name="T26" fmla="*/ 245 w 287"/>
                  <a:gd name="T27" fmla="*/ 172 h 289"/>
                  <a:gd name="T28" fmla="*/ 229 w 287"/>
                  <a:gd name="T29" fmla="*/ 210 h 289"/>
                  <a:gd name="T30" fmla="*/ 201 w 287"/>
                  <a:gd name="T31" fmla="*/ 238 h 289"/>
                  <a:gd name="T32" fmla="*/ 163 w 287"/>
                  <a:gd name="T33" fmla="*/ 254 h 289"/>
                  <a:gd name="T34" fmla="*/ 39 w 287"/>
                  <a:gd name="T35" fmla="*/ 138 h 289"/>
                  <a:gd name="T36" fmla="*/ 52 w 287"/>
                  <a:gd name="T37" fmla="*/ 98 h 289"/>
                  <a:gd name="T38" fmla="*/ 78 w 287"/>
                  <a:gd name="T39" fmla="*/ 66 h 289"/>
                  <a:gd name="T40" fmla="*/ 114 w 287"/>
                  <a:gd name="T41" fmla="*/ 47 h 289"/>
                  <a:gd name="T42" fmla="*/ 155 w 287"/>
                  <a:gd name="T43" fmla="*/ 43 h 289"/>
                  <a:gd name="T44" fmla="*/ 188 w 287"/>
                  <a:gd name="T45" fmla="*/ 54 h 289"/>
                  <a:gd name="T46" fmla="*/ 211 w 287"/>
                  <a:gd name="T47" fmla="*/ 51 h 289"/>
                  <a:gd name="T48" fmla="*/ 223 w 287"/>
                  <a:gd name="T49" fmla="*/ 39 h 289"/>
                  <a:gd name="T50" fmla="*/ 235 w 287"/>
                  <a:gd name="T51" fmla="*/ 51 h 289"/>
                  <a:gd name="T52" fmla="*/ 165 w 287"/>
                  <a:gd name="T53" fmla="*/ 118 h 289"/>
                  <a:gd name="T54" fmla="*/ 165 w 287"/>
                  <a:gd name="T55" fmla="*/ 101 h 289"/>
                  <a:gd name="T56" fmla="*/ 197 w 287"/>
                  <a:gd name="T57" fmla="*/ 91 h 289"/>
                  <a:gd name="T58" fmla="*/ 172 w 287"/>
                  <a:gd name="T59" fmla="*/ 72 h 289"/>
                  <a:gd name="T60" fmla="*/ 137 w 287"/>
                  <a:gd name="T61" fmla="*/ 66 h 289"/>
                  <a:gd name="T62" fmla="*/ 106 w 287"/>
                  <a:gd name="T63" fmla="*/ 77 h 289"/>
                  <a:gd name="T64" fmla="*/ 82 w 287"/>
                  <a:gd name="T65" fmla="*/ 96 h 289"/>
                  <a:gd name="T66" fmla="*/ 68 w 287"/>
                  <a:gd name="T67" fmla="*/ 124 h 289"/>
                  <a:gd name="T68" fmla="*/ 39 w 287"/>
                  <a:gd name="T69" fmla="*/ 149 h 289"/>
                  <a:gd name="T70" fmla="*/ 101 w 287"/>
                  <a:gd name="T71" fmla="*/ 6 h 289"/>
                  <a:gd name="T72" fmla="*/ 52 w 287"/>
                  <a:gd name="T73" fmla="*/ 33 h 289"/>
                  <a:gd name="T74" fmla="*/ 16 w 287"/>
                  <a:gd name="T75" fmla="*/ 75 h 289"/>
                  <a:gd name="T76" fmla="*/ 0 w 287"/>
                  <a:gd name="T77" fmla="*/ 129 h 289"/>
                  <a:gd name="T78" fmla="*/ 6 w 287"/>
                  <a:gd name="T79" fmla="*/ 187 h 289"/>
                  <a:gd name="T80" fmla="*/ 32 w 287"/>
                  <a:gd name="T81" fmla="*/ 236 h 289"/>
                  <a:gd name="T82" fmla="*/ 75 w 287"/>
                  <a:gd name="T83" fmla="*/ 271 h 289"/>
                  <a:gd name="T84" fmla="*/ 129 w 287"/>
                  <a:gd name="T85" fmla="*/ 287 h 289"/>
                  <a:gd name="T86" fmla="*/ 186 w 287"/>
                  <a:gd name="T87" fmla="*/ 282 h 289"/>
                  <a:gd name="T88" fmla="*/ 235 w 287"/>
                  <a:gd name="T89" fmla="*/ 255 h 289"/>
                  <a:gd name="T90" fmla="*/ 270 w 287"/>
                  <a:gd name="T91" fmla="*/ 213 h 289"/>
                  <a:gd name="T92" fmla="*/ 287 w 287"/>
                  <a:gd name="T93" fmla="*/ 159 h 289"/>
                  <a:gd name="T94" fmla="*/ 281 w 287"/>
                  <a:gd name="T95" fmla="*/ 101 h 289"/>
                  <a:gd name="T96" fmla="*/ 255 w 287"/>
                  <a:gd name="T97" fmla="*/ 52 h 289"/>
                  <a:gd name="T98" fmla="*/ 213 w 287"/>
                  <a:gd name="T99" fmla="*/ 18 h 289"/>
                  <a:gd name="T100" fmla="*/ 159 w 287"/>
                  <a:gd name="T101" fmla="*/ 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7" h="289">
                    <a:moveTo>
                      <a:pt x="142" y="256"/>
                    </a:moveTo>
                    <a:lnTo>
                      <a:pt x="132" y="256"/>
                    </a:lnTo>
                    <a:lnTo>
                      <a:pt x="122" y="254"/>
                    </a:lnTo>
                    <a:lnTo>
                      <a:pt x="111" y="253"/>
                    </a:lnTo>
                    <a:lnTo>
                      <a:pt x="102" y="249"/>
                    </a:lnTo>
                    <a:lnTo>
                      <a:pt x="93" y="245"/>
                    </a:lnTo>
                    <a:lnTo>
                      <a:pt x="84" y="240"/>
                    </a:lnTo>
                    <a:lnTo>
                      <a:pt x="77" y="235"/>
                    </a:lnTo>
                    <a:lnTo>
                      <a:pt x="69" y="228"/>
                    </a:lnTo>
                    <a:lnTo>
                      <a:pt x="69" y="233"/>
                    </a:lnTo>
                    <a:lnTo>
                      <a:pt x="69" y="238"/>
                    </a:lnTo>
                    <a:lnTo>
                      <a:pt x="66" y="242"/>
                    </a:lnTo>
                    <a:lnTo>
                      <a:pt x="62" y="245"/>
                    </a:lnTo>
                    <a:lnTo>
                      <a:pt x="57" y="246"/>
                    </a:lnTo>
                    <a:lnTo>
                      <a:pt x="52" y="245"/>
                    </a:lnTo>
                    <a:lnTo>
                      <a:pt x="48" y="242"/>
                    </a:lnTo>
                    <a:lnTo>
                      <a:pt x="46" y="238"/>
                    </a:lnTo>
                    <a:lnTo>
                      <a:pt x="46" y="233"/>
                    </a:lnTo>
                    <a:lnTo>
                      <a:pt x="46" y="181"/>
                    </a:lnTo>
                    <a:lnTo>
                      <a:pt x="107" y="181"/>
                    </a:lnTo>
                    <a:lnTo>
                      <a:pt x="111" y="181"/>
                    </a:lnTo>
                    <a:lnTo>
                      <a:pt x="115" y="183"/>
                    </a:lnTo>
                    <a:lnTo>
                      <a:pt x="118" y="187"/>
                    </a:lnTo>
                    <a:lnTo>
                      <a:pt x="119" y="192"/>
                    </a:lnTo>
                    <a:lnTo>
                      <a:pt x="118" y="197"/>
                    </a:lnTo>
                    <a:lnTo>
                      <a:pt x="115" y="201"/>
                    </a:lnTo>
                    <a:lnTo>
                      <a:pt x="111" y="204"/>
                    </a:lnTo>
                    <a:lnTo>
                      <a:pt x="107" y="204"/>
                    </a:lnTo>
                    <a:lnTo>
                      <a:pt x="79" y="204"/>
                    </a:lnTo>
                    <a:lnTo>
                      <a:pt x="86" y="210"/>
                    </a:lnTo>
                    <a:lnTo>
                      <a:pt x="92" y="215"/>
                    </a:lnTo>
                    <a:lnTo>
                      <a:pt x="100" y="220"/>
                    </a:lnTo>
                    <a:lnTo>
                      <a:pt x="107" y="224"/>
                    </a:lnTo>
                    <a:lnTo>
                      <a:pt x="115" y="228"/>
                    </a:lnTo>
                    <a:lnTo>
                      <a:pt x="124" y="231"/>
                    </a:lnTo>
                    <a:lnTo>
                      <a:pt x="133" y="232"/>
                    </a:lnTo>
                    <a:lnTo>
                      <a:pt x="142" y="232"/>
                    </a:lnTo>
                    <a:lnTo>
                      <a:pt x="150" y="232"/>
                    </a:lnTo>
                    <a:lnTo>
                      <a:pt x="157" y="231"/>
                    </a:lnTo>
                    <a:lnTo>
                      <a:pt x="165" y="228"/>
                    </a:lnTo>
                    <a:lnTo>
                      <a:pt x="173" y="226"/>
                    </a:lnTo>
                    <a:lnTo>
                      <a:pt x="181" y="223"/>
                    </a:lnTo>
                    <a:lnTo>
                      <a:pt x="187" y="218"/>
                    </a:lnTo>
                    <a:lnTo>
                      <a:pt x="193" y="214"/>
                    </a:lnTo>
                    <a:lnTo>
                      <a:pt x="200" y="208"/>
                    </a:lnTo>
                    <a:lnTo>
                      <a:pt x="205" y="202"/>
                    </a:lnTo>
                    <a:lnTo>
                      <a:pt x="209" y="196"/>
                    </a:lnTo>
                    <a:lnTo>
                      <a:pt x="214" y="190"/>
                    </a:lnTo>
                    <a:lnTo>
                      <a:pt x="217" y="182"/>
                    </a:lnTo>
                    <a:lnTo>
                      <a:pt x="220" y="174"/>
                    </a:lnTo>
                    <a:lnTo>
                      <a:pt x="222" y="167"/>
                    </a:lnTo>
                    <a:lnTo>
                      <a:pt x="223" y="159"/>
                    </a:lnTo>
                    <a:lnTo>
                      <a:pt x="223" y="150"/>
                    </a:lnTo>
                    <a:lnTo>
                      <a:pt x="247" y="150"/>
                    </a:lnTo>
                    <a:lnTo>
                      <a:pt x="247" y="161"/>
                    </a:lnTo>
                    <a:lnTo>
                      <a:pt x="245" y="172"/>
                    </a:lnTo>
                    <a:lnTo>
                      <a:pt x="242" y="182"/>
                    </a:lnTo>
                    <a:lnTo>
                      <a:pt x="240" y="191"/>
                    </a:lnTo>
                    <a:lnTo>
                      <a:pt x="235" y="201"/>
                    </a:lnTo>
                    <a:lnTo>
                      <a:pt x="229" y="210"/>
                    </a:lnTo>
                    <a:lnTo>
                      <a:pt x="223" y="218"/>
                    </a:lnTo>
                    <a:lnTo>
                      <a:pt x="217" y="226"/>
                    </a:lnTo>
                    <a:lnTo>
                      <a:pt x="209" y="232"/>
                    </a:lnTo>
                    <a:lnTo>
                      <a:pt x="201" y="238"/>
                    </a:lnTo>
                    <a:lnTo>
                      <a:pt x="192" y="244"/>
                    </a:lnTo>
                    <a:lnTo>
                      <a:pt x="183" y="247"/>
                    </a:lnTo>
                    <a:lnTo>
                      <a:pt x="173" y="251"/>
                    </a:lnTo>
                    <a:lnTo>
                      <a:pt x="163" y="254"/>
                    </a:lnTo>
                    <a:lnTo>
                      <a:pt x="152" y="256"/>
                    </a:lnTo>
                    <a:lnTo>
                      <a:pt x="142" y="256"/>
                    </a:lnTo>
                    <a:close/>
                    <a:moveTo>
                      <a:pt x="39" y="149"/>
                    </a:moveTo>
                    <a:lnTo>
                      <a:pt x="39" y="138"/>
                    </a:lnTo>
                    <a:lnTo>
                      <a:pt x="42" y="127"/>
                    </a:lnTo>
                    <a:lnTo>
                      <a:pt x="44" y="116"/>
                    </a:lnTo>
                    <a:lnTo>
                      <a:pt x="48" y="107"/>
                    </a:lnTo>
                    <a:lnTo>
                      <a:pt x="52" y="98"/>
                    </a:lnTo>
                    <a:lnTo>
                      <a:pt x="57" y="89"/>
                    </a:lnTo>
                    <a:lnTo>
                      <a:pt x="64" y="80"/>
                    </a:lnTo>
                    <a:lnTo>
                      <a:pt x="70" y="74"/>
                    </a:lnTo>
                    <a:lnTo>
                      <a:pt x="78" y="66"/>
                    </a:lnTo>
                    <a:lnTo>
                      <a:pt x="87" y="61"/>
                    </a:lnTo>
                    <a:lnTo>
                      <a:pt x="95" y="55"/>
                    </a:lnTo>
                    <a:lnTo>
                      <a:pt x="105" y="51"/>
                    </a:lnTo>
                    <a:lnTo>
                      <a:pt x="114" y="47"/>
                    </a:lnTo>
                    <a:lnTo>
                      <a:pt x="124" y="45"/>
                    </a:lnTo>
                    <a:lnTo>
                      <a:pt x="134" y="43"/>
                    </a:lnTo>
                    <a:lnTo>
                      <a:pt x="146" y="42"/>
                    </a:lnTo>
                    <a:lnTo>
                      <a:pt x="155" y="43"/>
                    </a:lnTo>
                    <a:lnTo>
                      <a:pt x="164" y="45"/>
                    </a:lnTo>
                    <a:lnTo>
                      <a:pt x="173" y="47"/>
                    </a:lnTo>
                    <a:lnTo>
                      <a:pt x="181" y="50"/>
                    </a:lnTo>
                    <a:lnTo>
                      <a:pt x="188" y="54"/>
                    </a:lnTo>
                    <a:lnTo>
                      <a:pt x="196" y="59"/>
                    </a:lnTo>
                    <a:lnTo>
                      <a:pt x="204" y="65"/>
                    </a:lnTo>
                    <a:lnTo>
                      <a:pt x="211" y="72"/>
                    </a:lnTo>
                    <a:lnTo>
                      <a:pt x="211" y="51"/>
                    </a:lnTo>
                    <a:lnTo>
                      <a:pt x="211" y="47"/>
                    </a:lnTo>
                    <a:lnTo>
                      <a:pt x="214" y="43"/>
                    </a:lnTo>
                    <a:lnTo>
                      <a:pt x="218" y="41"/>
                    </a:lnTo>
                    <a:lnTo>
                      <a:pt x="223" y="39"/>
                    </a:lnTo>
                    <a:lnTo>
                      <a:pt x="228" y="41"/>
                    </a:lnTo>
                    <a:lnTo>
                      <a:pt x="232" y="43"/>
                    </a:lnTo>
                    <a:lnTo>
                      <a:pt x="235" y="47"/>
                    </a:lnTo>
                    <a:lnTo>
                      <a:pt x="235" y="51"/>
                    </a:lnTo>
                    <a:lnTo>
                      <a:pt x="235" y="122"/>
                    </a:lnTo>
                    <a:lnTo>
                      <a:pt x="173" y="122"/>
                    </a:lnTo>
                    <a:lnTo>
                      <a:pt x="169" y="120"/>
                    </a:lnTo>
                    <a:lnTo>
                      <a:pt x="165" y="118"/>
                    </a:lnTo>
                    <a:lnTo>
                      <a:pt x="163" y="114"/>
                    </a:lnTo>
                    <a:lnTo>
                      <a:pt x="161" y="109"/>
                    </a:lnTo>
                    <a:lnTo>
                      <a:pt x="163" y="105"/>
                    </a:lnTo>
                    <a:lnTo>
                      <a:pt x="165" y="101"/>
                    </a:lnTo>
                    <a:lnTo>
                      <a:pt x="169" y="98"/>
                    </a:lnTo>
                    <a:lnTo>
                      <a:pt x="173" y="97"/>
                    </a:lnTo>
                    <a:lnTo>
                      <a:pt x="201" y="97"/>
                    </a:lnTo>
                    <a:lnTo>
                      <a:pt x="197" y="91"/>
                    </a:lnTo>
                    <a:lnTo>
                      <a:pt x="191" y="86"/>
                    </a:lnTo>
                    <a:lnTo>
                      <a:pt x="186" y="80"/>
                    </a:lnTo>
                    <a:lnTo>
                      <a:pt x="179" y="75"/>
                    </a:lnTo>
                    <a:lnTo>
                      <a:pt x="172" y="72"/>
                    </a:lnTo>
                    <a:lnTo>
                      <a:pt x="164" y="69"/>
                    </a:lnTo>
                    <a:lnTo>
                      <a:pt x="155" y="68"/>
                    </a:lnTo>
                    <a:lnTo>
                      <a:pt x="146" y="66"/>
                    </a:lnTo>
                    <a:lnTo>
                      <a:pt x="137" y="66"/>
                    </a:lnTo>
                    <a:lnTo>
                      <a:pt x="129" y="68"/>
                    </a:lnTo>
                    <a:lnTo>
                      <a:pt x="122" y="70"/>
                    </a:lnTo>
                    <a:lnTo>
                      <a:pt x="114" y="73"/>
                    </a:lnTo>
                    <a:lnTo>
                      <a:pt x="106" y="77"/>
                    </a:lnTo>
                    <a:lnTo>
                      <a:pt x="100" y="80"/>
                    </a:lnTo>
                    <a:lnTo>
                      <a:pt x="93" y="86"/>
                    </a:lnTo>
                    <a:lnTo>
                      <a:pt x="88" y="91"/>
                    </a:lnTo>
                    <a:lnTo>
                      <a:pt x="82" y="96"/>
                    </a:lnTo>
                    <a:lnTo>
                      <a:pt x="78" y="102"/>
                    </a:lnTo>
                    <a:lnTo>
                      <a:pt x="74" y="110"/>
                    </a:lnTo>
                    <a:lnTo>
                      <a:pt x="70" y="116"/>
                    </a:lnTo>
                    <a:lnTo>
                      <a:pt x="68" y="124"/>
                    </a:lnTo>
                    <a:lnTo>
                      <a:pt x="65" y="132"/>
                    </a:lnTo>
                    <a:lnTo>
                      <a:pt x="64" y="141"/>
                    </a:lnTo>
                    <a:lnTo>
                      <a:pt x="64" y="149"/>
                    </a:lnTo>
                    <a:lnTo>
                      <a:pt x="39" y="149"/>
                    </a:lnTo>
                    <a:close/>
                    <a:moveTo>
                      <a:pt x="143" y="0"/>
                    </a:moveTo>
                    <a:lnTo>
                      <a:pt x="129" y="1"/>
                    </a:lnTo>
                    <a:lnTo>
                      <a:pt x="114" y="2"/>
                    </a:lnTo>
                    <a:lnTo>
                      <a:pt x="101" y="6"/>
                    </a:lnTo>
                    <a:lnTo>
                      <a:pt x="87" y="11"/>
                    </a:lnTo>
                    <a:lnTo>
                      <a:pt x="75" y="18"/>
                    </a:lnTo>
                    <a:lnTo>
                      <a:pt x="62" y="24"/>
                    </a:lnTo>
                    <a:lnTo>
                      <a:pt x="52" y="33"/>
                    </a:lnTo>
                    <a:lnTo>
                      <a:pt x="42" y="42"/>
                    </a:lnTo>
                    <a:lnTo>
                      <a:pt x="32" y="52"/>
                    </a:lnTo>
                    <a:lnTo>
                      <a:pt x="24" y="64"/>
                    </a:lnTo>
                    <a:lnTo>
                      <a:pt x="16" y="75"/>
                    </a:lnTo>
                    <a:lnTo>
                      <a:pt x="11" y="88"/>
                    </a:lnTo>
                    <a:lnTo>
                      <a:pt x="6" y="101"/>
                    </a:lnTo>
                    <a:lnTo>
                      <a:pt x="2" y="115"/>
                    </a:lnTo>
                    <a:lnTo>
                      <a:pt x="0" y="129"/>
                    </a:lnTo>
                    <a:lnTo>
                      <a:pt x="0" y="143"/>
                    </a:lnTo>
                    <a:lnTo>
                      <a:pt x="0" y="159"/>
                    </a:lnTo>
                    <a:lnTo>
                      <a:pt x="2" y="173"/>
                    </a:lnTo>
                    <a:lnTo>
                      <a:pt x="6" y="187"/>
                    </a:lnTo>
                    <a:lnTo>
                      <a:pt x="11" y="200"/>
                    </a:lnTo>
                    <a:lnTo>
                      <a:pt x="16" y="213"/>
                    </a:lnTo>
                    <a:lnTo>
                      <a:pt x="24" y="224"/>
                    </a:lnTo>
                    <a:lnTo>
                      <a:pt x="32" y="236"/>
                    </a:lnTo>
                    <a:lnTo>
                      <a:pt x="42" y="246"/>
                    </a:lnTo>
                    <a:lnTo>
                      <a:pt x="52" y="255"/>
                    </a:lnTo>
                    <a:lnTo>
                      <a:pt x="62" y="263"/>
                    </a:lnTo>
                    <a:lnTo>
                      <a:pt x="75" y="271"/>
                    </a:lnTo>
                    <a:lnTo>
                      <a:pt x="87" y="277"/>
                    </a:lnTo>
                    <a:lnTo>
                      <a:pt x="101" y="282"/>
                    </a:lnTo>
                    <a:lnTo>
                      <a:pt x="114" y="285"/>
                    </a:lnTo>
                    <a:lnTo>
                      <a:pt x="129" y="287"/>
                    </a:lnTo>
                    <a:lnTo>
                      <a:pt x="143" y="289"/>
                    </a:lnTo>
                    <a:lnTo>
                      <a:pt x="159" y="287"/>
                    </a:lnTo>
                    <a:lnTo>
                      <a:pt x="173" y="285"/>
                    </a:lnTo>
                    <a:lnTo>
                      <a:pt x="186" y="282"/>
                    </a:lnTo>
                    <a:lnTo>
                      <a:pt x="200" y="277"/>
                    </a:lnTo>
                    <a:lnTo>
                      <a:pt x="213" y="271"/>
                    </a:lnTo>
                    <a:lnTo>
                      <a:pt x="224" y="263"/>
                    </a:lnTo>
                    <a:lnTo>
                      <a:pt x="235" y="255"/>
                    </a:lnTo>
                    <a:lnTo>
                      <a:pt x="245" y="246"/>
                    </a:lnTo>
                    <a:lnTo>
                      <a:pt x="255" y="236"/>
                    </a:lnTo>
                    <a:lnTo>
                      <a:pt x="263" y="224"/>
                    </a:lnTo>
                    <a:lnTo>
                      <a:pt x="270" y="213"/>
                    </a:lnTo>
                    <a:lnTo>
                      <a:pt x="277" y="200"/>
                    </a:lnTo>
                    <a:lnTo>
                      <a:pt x="281" y="187"/>
                    </a:lnTo>
                    <a:lnTo>
                      <a:pt x="285" y="173"/>
                    </a:lnTo>
                    <a:lnTo>
                      <a:pt x="287" y="159"/>
                    </a:lnTo>
                    <a:lnTo>
                      <a:pt x="287" y="143"/>
                    </a:lnTo>
                    <a:lnTo>
                      <a:pt x="287" y="129"/>
                    </a:lnTo>
                    <a:lnTo>
                      <a:pt x="285" y="115"/>
                    </a:lnTo>
                    <a:lnTo>
                      <a:pt x="281" y="101"/>
                    </a:lnTo>
                    <a:lnTo>
                      <a:pt x="277" y="88"/>
                    </a:lnTo>
                    <a:lnTo>
                      <a:pt x="270" y="75"/>
                    </a:lnTo>
                    <a:lnTo>
                      <a:pt x="263" y="64"/>
                    </a:lnTo>
                    <a:lnTo>
                      <a:pt x="255" y="52"/>
                    </a:lnTo>
                    <a:lnTo>
                      <a:pt x="245" y="42"/>
                    </a:lnTo>
                    <a:lnTo>
                      <a:pt x="235" y="33"/>
                    </a:lnTo>
                    <a:lnTo>
                      <a:pt x="224" y="24"/>
                    </a:lnTo>
                    <a:lnTo>
                      <a:pt x="213" y="18"/>
                    </a:lnTo>
                    <a:lnTo>
                      <a:pt x="200" y="11"/>
                    </a:lnTo>
                    <a:lnTo>
                      <a:pt x="186" y="6"/>
                    </a:lnTo>
                    <a:lnTo>
                      <a:pt x="173" y="2"/>
                    </a:lnTo>
                    <a:lnTo>
                      <a:pt x="159" y="1"/>
                    </a:lnTo>
                    <a:lnTo>
                      <a:pt x="1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Calibri" panose="020F0502020204030204"/>
                  <a:ea typeface="+mn-ea"/>
                  <a:cs typeface="+mn-cs"/>
                </a:endParaRPr>
              </a:p>
            </p:txBody>
          </p:sp>
        </p:grpSp>
        <p:sp>
          <p:nvSpPr>
            <p:cNvPr id="36" name="Content Placeholder 2">
              <a:extLst>
                <a:ext uri="{FF2B5EF4-FFF2-40B4-BE49-F238E27FC236}">
                  <a16:creationId xmlns:a16="http://schemas.microsoft.com/office/drawing/2014/main" id="{06182DEE-7902-4D24-9E08-DD69375B1A47}"/>
                </a:ext>
              </a:extLst>
            </p:cNvPr>
            <p:cNvSpPr txBox="1">
              <a:spLocks/>
            </p:cNvSpPr>
            <p:nvPr/>
          </p:nvSpPr>
          <p:spPr>
            <a:xfrm>
              <a:off x="9752371" y="2607095"/>
              <a:ext cx="2139238" cy="426271"/>
            </a:xfrm>
            <a:prstGeom prst="rect">
              <a:avLst/>
            </a:prstGeom>
          </p:spPr>
          <p:txBody>
            <a:bodyPr wrap="square" lIns="0" tIns="0" rIns="0" bIns="0" anchor="t">
              <a:spAutoFit/>
            </a:bodyPr>
            <a:lstStyle>
              <a:defPPr>
                <a:defRPr lang="id-ID"/>
              </a:defPPr>
              <a:lvl1pPr algn="ctr">
                <a:defRPr sz="1400">
                  <a:solidFill>
                    <a:schemeClr val="accent2"/>
                  </a:solidFill>
                  <a:latin typeface="Century Gothic" panose="020B0502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300"/>
                </a:spcAft>
                <a:buClrTx/>
                <a:buSzTx/>
                <a:buFontTx/>
                <a:buNone/>
                <a:tabLst/>
                <a:defRPr/>
              </a:pPr>
              <a:r>
                <a:rPr lang="en-US" dirty="0">
                  <a:solidFill>
                    <a:schemeClr val="tx1"/>
                  </a:solidFill>
                  <a:latin typeface="+mn-lt"/>
                </a:rPr>
                <a:t>Next Steps</a:t>
              </a:r>
            </a:p>
            <a:p>
              <a:pPr marL="0" marR="0" lvl="0" indent="0" algn="ctr" defTabSz="914400" rtl="0" eaLnBrk="1" fontAlgn="auto" latinLnBrk="0" hangingPunct="1">
                <a:lnSpc>
                  <a:spcPct val="90000"/>
                </a:lnSpc>
                <a:spcBef>
                  <a:spcPts val="0"/>
                </a:spcBef>
                <a:spcAft>
                  <a:spcPts val="300"/>
                </a:spcAft>
                <a:buClrTx/>
                <a:buSzTx/>
                <a:buFontTx/>
                <a:buNone/>
                <a:tabLst/>
                <a:defRPr/>
              </a:pPr>
              <a:endParaRPr kumimoji="0" lang="en-US" b="0" i="0" u="none" strike="noStrike" kern="1200" cap="none" spc="0" normalizeH="0" baseline="0" noProof="0" dirty="0">
                <a:ln>
                  <a:noFill/>
                </a:ln>
                <a:solidFill>
                  <a:schemeClr val="tx1"/>
                </a:solidFill>
                <a:effectLst/>
                <a:uLnTx/>
                <a:uFillTx/>
                <a:latin typeface="+mn-lt"/>
                <a:ea typeface="+mn-ea"/>
                <a:cs typeface="+mn-cs"/>
              </a:endParaRPr>
            </a:p>
          </p:txBody>
        </p:sp>
        <p:grpSp>
          <p:nvGrpSpPr>
            <p:cNvPr id="47" name="Group 46">
              <a:extLst>
                <a:ext uri="{FF2B5EF4-FFF2-40B4-BE49-F238E27FC236}">
                  <a16:creationId xmlns:a16="http://schemas.microsoft.com/office/drawing/2014/main" id="{185CCA9F-C3F9-421D-B5BE-B8A3B9EFBAF5}"/>
                </a:ext>
              </a:extLst>
            </p:cNvPr>
            <p:cNvGrpSpPr/>
            <p:nvPr/>
          </p:nvGrpSpPr>
          <p:grpSpPr>
            <a:xfrm>
              <a:off x="10633400" y="1999979"/>
              <a:ext cx="377178" cy="293360"/>
              <a:chOff x="1474788" y="828675"/>
              <a:chExt cx="285750" cy="222251"/>
            </a:xfrm>
            <a:solidFill>
              <a:schemeClr val="accent1"/>
            </a:solidFill>
          </p:grpSpPr>
          <p:sp>
            <p:nvSpPr>
              <p:cNvPr id="61" name="Freeform 1682">
                <a:extLst>
                  <a:ext uri="{FF2B5EF4-FFF2-40B4-BE49-F238E27FC236}">
                    <a16:creationId xmlns:a16="http://schemas.microsoft.com/office/drawing/2014/main" id="{379B1B10-4E3D-44F2-B133-F9759AFDDC60}"/>
                  </a:ext>
                </a:extLst>
              </p:cNvPr>
              <p:cNvSpPr>
                <a:spLocks/>
              </p:cNvSpPr>
              <p:nvPr/>
            </p:nvSpPr>
            <p:spPr bwMode="auto">
              <a:xfrm>
                <a:off x="1538288" y="912813"/>
                <a:ext cx="222250" cy="138113"/>
              </a:xfrm>
              <a:custGeom>
                <a:avLst/>
                <a:gdLst>
                  <a:gd name="T0" fmla="*/ 482 w 559"/>
                  <a:gd name="T1" fmla="*/ 11 h 348"/>
                  <a:gd name="T2" fmla="*/ 474 w 559"/>
                  <a:gd name="T3" fmla="*/ 3 h 348"/>
                  <a:gd name="T4" fmla="*/ 464 w 559"/>
                  <a:gd name="T5" fmla="*/ 0 h 348"/>
                  <a:gd name="T6" fmla="*/ 452 w 559"/>
                  <a:gd name="T7" fmla="*/ 2 h 348"/>
                  <a:gd name="T8" fmla="*/ 443 w 559"/>
                  <a:gd name="T9" fmla="*/ 7 h 348"/>
                  <a:gd name="T10" fmla="*/ 344 w 559"/>
                  <a:gd name="T11" fmla="*/ 128 h 348"/>
                  <a:gd name="T12" fmla="*/ 342 w 559"/>
                  <a:gd name="T13" fmla="*/ 136 h 348"/>
                  <a:gd name="T14" fmla="*/ 342 w 559"/>
                  <a:gd name="T15" fmla="*/ 145 h 348"/>
                  <a:gd name="T16" fmla="*/ 346 w 559"/>
                  <a:gd name="T17" fmla="*/ 154 h 348"/>
                  <a:gd name="T18" fmla="*/ 354 w 559"/>
                  <a:gd name="T19" fmla="*/ 160 h 348"/>
                  <a:gd name="T20" fmla="*/ 363 w 559"/>
                  <a:gd name="T21" fmla="*/ 163 h 348"/>
                  <a:gd name="T22" fmla="*/ 371 w 559"/>
                  <a:gd name="T23" fmla="*/ 162 h 348"/>
                  <a:gd name="T24" fmla="*/ 380 w 559"/>
                  <a:gd name="T25" fmla="*/ 157 h 348"/>
                  <a:gd name="T26" fmla="*/ 440 w 559"/>
                  <a:gd name="T27" fmla="*/ 87 h 348"/>
                  <a:gd name="T28" fmla="*/ 434 w 559"/>
                  <a:gd name="T29" fmla="*/ 122 h 348"/>
                  <a:gd name="T30" fmla="*/ 422 w 559"/>
                  <a:gd name="T31" fmla="*/ 156 h 348"/>
                  <a:gd name="T32" fmla="*/ 406 w 559"/>
                  <a:gd name="T33" fmla="*/ 188 h 348"/>
                  <a:gd name="T34" fmla="*/ 384 w 559"/>
                  <a:gd name="T35" fmla="*/ 217 h 348"/>
                  <a:gd name="T36" fmla="*/ 357 w 559"/>
                  <a:gd name="T37" fmla="*/ 244 h 348"/>
                  <a:gd name="T38" fmla="*/ 327 w 559"/>
                  <a:gd name="T39" fmla="*/ 266 h 348"/>
                  <a:gd name="T40" fmla="*/ 294 w 559"/>
                  <a:gd name="T41" fmla="*/ 283 h 348"/>
                  <a:gd name="T42" fmla="*/ 259 w 559"/>
                  <a:gd name="T43" fmla="*/ 294 h 348"/>
                  <a:gd name="T44" fmla="*/ 229 w 559"/>
                  <a:gd name="T45" fmla="*/ 300 h 348"/>
                  <a:gd name="T46" fmla="*/ 199 w 559"/>
                  <a:gd name="T47" fmla="*/ 301 h 348"/>
                  <a:gd name="T48" fmla="*/ 170 w 559"/>
                  <a:gd name="T49" fmla="*/ 299 h 348"/>
                  <a:gd name="T50" fmla="*/ 142 w 559"/>
                  <a:gd name="T51" fmla="*/ 293 h 348"/>
                  <a:gd name="T52" fmla="*/ 114 w 559"/>
                  <a:gd name="T53" fmla="*/ 283 h 348"/>
                  <a:gd name="T54" fmla="*/ 89 w 559"/>
                  <a:gd name="T55" fmla="*/ 270 h 348"/>
                  <a:gd name="T56" fmla="*/ 64 w 559"/>
                  <a:gd name="T57" fmla="*/ 254 h 348"/>
                  <a:gd name="T58" fmla="*/ 41 w 559"/>
                  <a:gd name="T59" fmla="*/ 234 h 348"/>
                  <a:gd name="T60" fmla="*/ 33 w 559"/>
                  <a:gd name="T61" fmla="*/ 229 h 348"/>
                  <a:gd name="T62" fmla="*/ 25 w 559"/>
                  <a:gd name="T63" fmla="*/ 227 h 348"/>
                  <a:gd name="T64" fmla="*/ 16 w 559"/>
                  <a:gd name="T65" fmla="*/ 229 h 348"/>
                  <a:gd name="T66" fmla="*/ 7 w 559"/>
                  <a:gd name="T67" fmla="*/ 234 h 348"/>
                  <a:gd name="T68" fmla="*/ 3 w 559"/>
                  <a:gd name="T69" fmla="*/ 241 h 348"/>
                  <a:gd name="T70" fmla="*/ 0 w 559"/>
                  <a:gd name="T71" fmla="*/ 251 h 348"/>
                  <a:gd name="T72" fmla="*/ 3 w 559"/>
                  <a:gd name="T73" fmla="*/ 260 h 348"/>
                  <a:gd name="T74" fmla="*/ 8 w 559"/>
                  <a:gd name="T75" fmla="*/ 269 h 348"/>
                  <a:gd name="T76" fmla="*/ 28 w 559"/>
                  <a:gd name="T77" fmla="*/ 287 h 348"/>
                  <a:gd name="T78" fmla="*/ 51 w 559"/>
                  <a:gd name="T79" fmla="*/ 303 h 348"/>
                  <a:gd name="T80" fmla="*/ 74 w 559"/>
                  <a:gd name="T81" fmla="*/ 318 h 348"/>
                  <a:gd name="T82" fmla="*/ 99 w 559"/>
                  <a:gd name="T83" fmla="*/ 329 h 348"/>
                  <a:gd name="T84" fmla="*/ 124 w 559"/>
                  <a:gd name="T85" fmla="*/ 337 h 348"/>
                  <a:gd name="T86" fmla="*/ 151 w 559"/>
                  <a:gd name="T87" fmla="*/ 344 h 348"/>
                  <a:gd name="T88" fmla="*/ 177 w 559"/>
                  <a:gd name="T89" fmla="*/ 347 h 348"/>
                  <a:gd name="T90" fmla="*/ 205 w 559"/>
                  <a:gd name="T91" fmla="*/ 348 h 348"/>
                  <a:gd name="T92" fmla="*/ 237 w 559"/>
                  <a:gd name="T93" fmla="*/ 347 h 348"/>
                  <a:gd name="T94" fmla="*/ 270 w 559"/>
                  <a:gd name="T95" fmla="*/ 342 h 348"/>
                  <a:gd name="T96" fmla="*/ 311 w 559"/>
                  <a:gd name="T97" fmla="*/ 329 h 348"/>
                  <a:gd name="T98" fmla="*/ 348 w 559"/>
                  <a:gd name="T99" fmla="*/ 310 h 348"/>
                  <a:gd name="T100" fmla="*/ 382 w 559"/>
                  <a:gd name="T101" fmla="*/ 286 h 348"/>
                  <a:gd name="T102" fmla="*/ 413 w 559"/>
                  <a:gd name="T103" fmla="*/ 257 h 348"/>
                  <a:gd name="T104" fmla="*/ 439 w 559"/>
                  <a:gd name="T105" fmla="*/ 224 h 348"/>
                  <a:gd name="T106" fmla="*/ 460 w 559"/>
                  <a:gd name="T107" fmla="*/ 188 h 348"/>
                  <a:gd name="T108" fmla="*/ 475 w 559"/>
                  <a:gd name="T109" fmla="*/ 150 h 348"/>
                  <a:gd name="T110" fmla="*/ 485 w 559"/>
                  <a:gd name="T111" fmla="*/ 110 h 348"/>
                  <a:gd name="T112" fmla="*/ 518 w 559"/>
                  <a:gd name="T113" fmla="*/ 163 h 348"/>
                  <a:gd name="T114" fmla="*/ 529 w 559"/>
                  <a:gd name="T115" fmla="*/ 168 h 348"/>
                  <a:gd name="T116" fmla="*/ 541 w 559"/>
                  <a:gd name="T117" fmla="*/ 168 h 348"/>
                  <a:gd name="T118" fmla="*/ 551 w 559"/>
                  <a:gd name="T119" fmla="*/ 164 h 348"/>
                  <a:gd name="T120" fmla="*/ 557 w 559"/>
                  <a:gd name="T121" fmla="*/ 156 h 348"/>
                  <a:gd name="T122" fmla="*/ 559 w 559"/>
                  <a:gd name="T123" fmla="*/ 147 h 348"/>
                  <a:gd name="T124" fmla="*/ 558 w 559"/>
                  <a:gd name="T125" fmla="*/ 13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59" h="348">
                    <a:moveTo>
                      <a:pt x="556" y="133"/>
                    </a:moveTo>
                    <a:lnTo>
                      <a:pt x="482" y="11"/>
                    </a:lnTo>
                    <a:lnTo>
                      <a:pt x="478" y="6"/>
                    </a:lnTo>
                    <a:lnTo>
                      <a:pt x="474" y="3"/>
                    </a:lnTo>
                    <a:lnTo>
                      <a:pt x="470" y="1"/>
                    </a:lnTo>
                    <a:lnTo>
                      <a:pt x="464" y="0"/>
                    </a:lnTo>
                    <a:lnTo>
                      <a:pt x="458" y="0"/>
                    </a:lnTo>
                    <a:lnTo>
                      <a:pt x="452" y="2"/>
                    </a:lnTo>
                    <a:lnTo>
                      <a:pt x="448" y="4"/>
                    </a:lnTo>
                    <a:lnTo>
                      <a:pt x="443" y="7"/>
                    </a:lnTo>
                    <a:lnTo>
                      <a:pt x="346" y="123"/>
                    </a:lnTo>
                    <a:lnTo>
                      <a:pt x="344" y="128"/>
                    </a:lnTo>
                    <a:lnTo>
                      <a:pt x="342" y="132"/>
                    </a:lnTo>
                    <a:lnTo>
                      <a:pt x="342" y="136"/>
                    </a:lnTo>
                    <a:lnTo>
                      <a:pt x="342" y="141"/>
                    </a:lnTo>
                    <a:lnTo>
                      <a:pt x="342" y="145"/>
                    </a:lnTo>
                    <a:lnTo>
                      <a:pt x="344" y="150"/>
                    </a:lnTo>
                    <a:lnTo>
                      <a:pt x="346" y="154"/>
                    </a:lnTo>
                    <a:lnTo>
                      <a:pt x="349" y="157"/>
                    </a:lnTo>
                    <a:lnTo>
                      <a:pt x="354" y="160"/>
                    </a:lnTo>
                    <a:lnTo>
                      <a:pt x="358" y="162"/>
                    </a:lnTo>
                    <a:lnTo>
                      <a:pt x="363" y="163"/>
                    </a:lnTo>
                    <a:lnTo>
                      <a:pt x="367" y="163"/>
                    </a:lnTo>
                    <a:lnTo>
                      <a:pt x="371" y="162"/>
                    </a:lnTo>
                    <a:lnTo>
                      <a:pt x="376" y="161"/>
                    </a:lnTo>
                    <a:lnTo>
                      <a:pt x="380" y="157"/>
                    </a:lnTo>
                    <a:lnTo>
                      <a:pt x="384" y="155"/>
                    </a:lnTo>
                    <a:lnTo>
                      <a:pt x="440" y="87"/>
                    </a:lnTo>
                    <a:lnTo>
                      <a:pt x="438" y="104"/>
                    </a:lnTo>
                    <a:lnTo>
                      <a:pt x="434" y="122"/>
                    </a:lnTo>
                    <a:lnTo>
                      <a:pt x="429" y="139"/>
                    </a:lnTo>
                    <a:lnTo>
                      <a:pt x="422" y="156"/>
                    </a:lnTo>
                    <a:lnTo>
                      <a:pt x="414" y="173"/>
                    </a:lnTo>
                    <a:lnTo>
                      <a:pt x="406" y="188"/>
                    </a:lnTo>
                    <a:lnTo>
                      <a:pt x="395" y="204"/>
                    </a:lnTo>
                    <a:lnTo>
                      <a:pt x="384" y="217"/>
                    </a:lnTo>
                    <a:lnTo>
                      <a:pt x="371" y="231"/>
                    </a:lnTo>
                    <a:lnTo>
                      <a:pt x="357" y="244"/>
                    </a:lnTo>
                    <a:lnTo>
                      <a:pt x="343" y="256"/>
                    </a:lnTo>
                    <a:lnTo>
                      <a:pt x="327" y="266"/>
                    </a:lnTo>
                    <a:lnTo>
                      <a:pt x="312" y="274"/>
                    </a:lnTo>
                    <a:lnTo>
                      <a:pt x="294" y="283"/>
                    </a:lnTo>
                    <a:lnTo>
                      <a:pt x="276" y="290"/>
                    </a:lnTo>
                    <a:lnTo>
                      <a:pt x="259" y="294"/>
                    </a:lnTo>
                    <a:lnTo>
                      <a:pt x="243" y="298"/>
                    </a:lnTo>
                    <a:lnTo>
                      <a:pt x="229" y="300"/>
                    </a:lnTo>
                    <a:lnTo>
                      <a:pt x="215" y="301"/>
                    </a:lnTo>
                    <a:lnTo>
                      <a:pt x="199" y="301"/>
                    </a:lnTo>
                    <a:lnTo>
                      <a:pt x="185" y="301"/>
                    </a:lnTo>
                    <a:lnTo>
                      <a:pt x="170" y="299"/>
                    </a:lnTo>
                    <a:lnTo>
                      <a:pt x="156" y="297"/>
                    </a:lnTo>
                    <a:lnTo>
                      <a:pt x="142" y="293"/>
                    </a:lnTo>
                    <a:lnTo>
                      <a:pt x="128" y="289"/>
                    </a:lnTo>
                    <a:lnTo>
                      <a:pt x="114" y="283"/>
                    </a:lnTo>
                    <a:lnTo>
                      <a:pt x="101" y="278"/>
                    </a:lnTo>
                    <a:lnTo>
                      <a:pt x="89" y="270"/>
                    </a:lnTo>
                    <a:lnTo>
                      <a:pt x="75" y="262"/>
                    </a:lnTo>
                    <a:lnTo>
                      <a:pt x="64" y="254"/>
                    </a:lnTo>
                    <a:lnTo>
                      <a:pt x="52" y="245"/>
                    </a:lnTo>
                    <a:lnTo>
                      <a:pt x="41" y="234"/>
                    </a:lnTo>
                    <a:lnTo>
                      <a:pt x="38" y="231"/>
                    </a:lnTo>
                    <a:lnTo>
                      <a:pt x="33" y="229"/>
                    </a:lnTo>
                    <a:lnTo>
                      <a:pt x="29" y="228"/>
                    </a:lnTo>
                    <a:lnTo>
                      <a:pt x="25" y="227"/>
                    </a:lnTo>
                    <a:lnTo>
                      <a:pt x="20" y="228"/>
                    </a:lnTo>
                    <a:lnTo>
                      <a:pt x="16" y="229"/>
                    </a:lnTo>
                    <a:lnTo>
                      <a:pt x="11" y="231"/>
                    </a:lnTo>
                    <a:lnTo>
                      <a:pt x="7" y="234"/>
                    </a:lnTo>
                    <a:lnTo>
                      <a:pt x="5" y="238"/>
                    </a:lnTo>
                    <a:lnTo>
                      <a:pt x="3" y="241"/>
                    </a:lnTo>
                    <a:lnTo>
                      <a:pt x="1" y="247"/>
                    </a:lnTo>
                    <a:lnTo>
                      <a:pt x="0" y="251"/>
                    </a:lnTo>
                    <a:lnTo>
                      <a:pt x="1" y="256"/>
                    </a:lnTo>
                    <a:lnTo>
                      <a:pt x="3" y="260"/>
                    </a:lnTo>
                    <a:lnTo>
                      <a:pt x="5" y="265"/>
                    </a:lnTo>
                    <a:lnTo>
                      <a:pt x="8" y="269"/>
                    </a:lnTo>
                    <a:lnTo>
                      <a:pt x="18" y="278"/>
                    </a:lnTo>
                    <a:lnTo>
                      <a:pt x="28" y="287"/>
                    </a:lnTo>
                    <a:lnTo>
                      <a:pt x="39" y="295"/>
                    </a:lnTo>
                    <a:lnTo>
                      <a:pt x="51" y="303"/>
                    </a:lnTo>
                    <a:lnTo>
                      <a:pt x="62" y="311"/>
                    </a:lnTo>
                    <a:lnTo>
                      <a:pt x="74" y="318"/>
                    </a:lnTo>
                    <a:lnTo>
                      <a:pt x="86" y="323"/>
                    </a:lnTo>
                    <a:lnTo>
                      <a:pt x="99" y="329"/>
                    </a:lnTo>
                    <a:lnTo>
                      <a:pt x="112" y="333"/>
                    </a:lnTo>
                    <a:lnTo>
                      <a:pt x="124" y="337"/>
                    </a:lnTo>
                    <a:lnTo>
                      <a:pt x="137" y="341"/>
                    </a:lnTo>
                    <a:lnTo>
                      <a:pt x="151" y="344"/>
                    </a:lnTo>
                    <a:lnTo>
                      <a:pt x="164" y="346"/>
                    </a:lnTo>
                    <a:lnTo>
                      <a:pt x="177" y="347"/>
                    </a:lnTo>
                    <a:lnTo>
                      <a:pt x="190" y="348"/>
                    </a:lnTo>
                    <a:lnTo>
                      <a:pt x="205" y="348"/>
                    </a:lnTo>
                    <a:lnTo>
                      <a:pt x="220" y="348"/>
                    </a:lnTo>
                    <a:lnTo>
                      <a:pt x="237" y="347"/>
                    </a:lnTo>
                    <a:lnTo>
                      <a:pt x="253" y="345"/>
                    </a:lnTo>
                    <a:lnTo>
                      <a:pt x="270" y="342"/>
                    </a:lnTo>
                    <a:lnTo>
                      <a:pt x="291" y="336"/>
                    </a:lnTo>
                    <a:lnTo>
                      <a:pt x="311" y="329"/>
                    </a:lnTo>
                    <a:lnTo>
                      <a:pt x="329" y="320"/>
                    </a:lnTo>
                    <a:lnTo>
                      <a:pt x="348" y="310"/>
                    </a:lnTo>
                    <a:lnTo>
                      <a:pt x="366" y="298"/>
                    </a:lnTo>
                    <a:lnTo>
                      <a:pt x="382" y="286"/>
                    </a:lnTo>
                    <a:lnTo>
                      <a:pt x="398" y="271"/>
                    </a:lnTo>
                    <a:lnTo>
                      <a:pt x="413" y="257"/>
                    </a:lnTo>
                    <a:lnTo>
                      <a:pt x="427" y="240"/>
                    </a:lnTo>
                    <a:lnTo>
                      <a:pt x="439" y="224"/>
                    </a:lnTo>
                    <a:lnTo>
                      <a:pt x="450" y="206"/>
                    </a:lnTo>
                    <a:lnTo>
                      <a:pt x="460" y="188"/>
                    </a:lnTo>
                    <a:lnTo>
                      <a:pt x="469" y="170"/>
                    </a:lnTo>
                    <a:lnTo>
                      <a:pt x="475" y="150"/>
                    </a:lnTo>
                    <a:lnTo>
                      <a:pt x="482" y="131"/>
                    </a:lnTo>
                    <a:lnTo>
                      <a:pt x="485" y="110"/>
                    </a:lnTo>
                    <a:lnTo>
                      <a:pt x="514" y="159"/>
                    </a:lnTo>
                    <a:lnTo>
                      <a:pt x="518" y="163"/>
                    </a:lnTo>
                    <a:lnTo>
                      <a:pt x="523" y="166"/>
                    </a:lnTo>
                    <a:lnTo>
                      <a:pt x="529" y="168"/>
                    </a:lnTo>
                    <a:lnTo>
                      <a:pt x="535" y="170"/>
                    </a:lnTo>
                    <a:lnTo>
                      <a:pt x="541" y="168"/>
                    </a:lnTo>
                    <a:lnTo>
                      <a:pt x="547" y="166"/>
                    </a:lnTo>
                    <a:lnTo>
                      <a:pt x="551" y="164"/>
                    </a:lnTo>
                    <a:lnTo>
                      <a:pt x="555" y="160"/>
                    </a:lnTo>
                    <a:lnTo>
                      <a:pt x="557" y="156"/>
                    </a:lnTo>
                    <a:lnTo>
                      <a:pt x="558" y="152"/>
                    </a:lnTo>
                    <a:lnTo>
                      <a:pt x="559" y="147"/>
                    </a:lnTo>
                    <a:lnTo>
                      <a:pt x="559" y="142"/>
                    </a:lnTo>
                    <a:lnTo>
                      <a:pt x="558" y="138"/>
                    </a:lnTo>
                    <a:lnTo>
                      <a:pt x="556"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62" name="Freeform 1683">
                <a:extLst>
                  <a:ext uri="{FF2B5EF4-FFF2-40B4-BE49-F238E27FC236}">
                    <a16:creationId xmlns:a16="http://schemas.microsoft.com/office/drawing/2014/main" id="{4E996A5C-21B3-4907-A822-E65AACA3B37E}"/>
                  </a:ext>
                </a:extLst>
              </p:cNvPr>
              <p:cNvSpPr>
                <a:spLocks/>
              </p:cNvSpPr>
              <p:nvPr/>
            </p:nvSpPr>
            <p:spPr bwMode="auto">
              <a:xfrm>
                <a:off x="1474788" y="828675"/>
                <a:ext cx="230188" cy="150813"/>
              </a:xfrm>
              <a:custGeom>
                <a:avLst/>
                <a:gdLst>
                  <a:gd name="T0" fmla="*/ 212 w 581"/>
                  <a:gd name="T1" fmla="*/ 217 h 379"/>
                  <a:gd name="T2" fmla="*/ 198 w 581"/>
                  <a:gd name="T3" fmla="*/ 217 h 379"/>
                  <a:gd name="T4" fmla="*/ 187 w 581"/>
                  <a:gd name="T5" fmla="*/ 226 h 379"/>
                  <a:gd name="T6" fmla="*/ 124 w 581"/>
                  <a:gd name="T7" fmla="*/ 267 h 379"/>
                  <a:gd name="T8" fmla="*/ 135 w 581"/>
                  <a:gd name="T9" fmla="*/ 216 h 379"/>
                  <a:gd name="T10" fmla="*/ 157 w 581"/>
                  <a:gd name="T11" fmla="*/ 167 h 379"/>
                  <a:gd name="T12" fmla="*/ 178 w 581"/>
                  <a:gd name="T13" fmla="*/ 138 h 379"/>
                  <a:gd name="T14" fmla="*/ 203 w 581"/>
                  <a:gd name="T15" fmla="*/ 110 h 379"/>
                  <a:gd name="T16" fmla="*/ 233 w 581"/>
                  <a:gd name="T17" fmla="*/ 88 h 379"/>
                  <a:gd name="T18" fmla="*/ 265 w 581"/>
                  <a:gd name="T19" fmla="*/ 70 h 379"/>
                  <a:gd name="T20" fmla="*/ 299 w 581"/>
                  <a:gd name="T21" fmla="*/ 57 h 379"/>
                  <a:gd name="T22" fmla="*/ 343 w 581"/>
                  <a:gd name="T23" fmla="*/ 49 h 379"/>
                  <a:gd name="T24" fmla="*/ 390 w 581"/>
                  <a:gd name="T25" fmla="*/ 49 h 379"/>
                  <a:gd name="T26" fmla="*/ 435 w 581"/>
                  <a:gd name="T27" fmla="*/ 58 h 379"/>
                  <a:gd name="T28" fmla="*/ 478 w 581"/>
                  <a:gd name="T29" fmla="*/ 77 h 379"/>
                  <a:gd name="T30" fmla="*/ 517 w 581"/>
                  <a:gd name="T31" fmla="*/ 103 h 379"/>
                  <a:gd name="T32" fmla="*/ 542 w 581"/>
                  <a:gd name="T33" fmla="*/ 130 h 379"/>
                  <a:gd name="T34" fmla="*/ 556 w 581"/>
                  <a:gd name="T35" fmla="*/ 134 h 379"/>
                  <a:gd name="T36" fmla="*/ 569 w 581"/>
                  <a:gd name="T37" fmla="*/ 131 h 379"/>
                  <a:gd name="T38" fmla="*/ 579 w 581"/>
                  <a:gd name="T39" fmla="*/ 121 h 379"/>
                  <a:gd name="T40" fmla="*/ 581 w 581"/>
                  <a:gd name="T41" fmla="*/ 108 h 379"/>
                  <a:gd name="T42" fmla="*/ 576 w 581"/>
                  <a:gd name="T43" fmla="*/ 94 h 379"/>
                  <a:gd name="T44" fmla="*/ 532 w 581"/>
                  <a:gd name="T45" fmla="*/ 56 h 379"/>
                  <a:gd name="T46" fmla="*/ 485 w 581"/>
                  <a:gd name="T47" fmla="*/ 27 h 379"/>
                  <a:gd name="T48" fmla="*/ 432 w 581"/>
                  <a:gd name="T49" fmla="*/ 8 h 379"/>
                  <a:gd name="T50" fmla="*/ 376 w 581"/>
                  <a:gd name="T51" fmla="*/ 0 h 379"/>
                  <a:gd name="T52" fmla="*/ 319 w 581"/>
                  <a:gd name="T53" fmla="*/ 4 h 379"/>
                  <a:gd name="T54" fmla="*/ 272 w 581"/>
                  <a:gd name="T55" fmla="*/ 16 h 379"/>
                  <a:gd name="T56" fmla="*/ 232 w 581"/>
                  <a:gd name="T57" fmla="*/ 34 h 379"/>
                  <a:gd name="T58" fmla="*/ 195 w 581"/>
                  <a:gd name="T59" fmla="*/ 57 h 379"/>
                  <a:gd name="T60" fmla="*/ 161 w 581"/>
                  <a:gd name="T61" fmla="*/ 86 h 379"/>
                  <a:gd name="T62" fmla="*/ 132 w 581"/>
                  <a:gd name="T63" fmla="*/ 119 h 379"/>
                  <a:gd name="T64" fmla="*/ 107 w 581"/>
                  <a:gd name="T65" fmla="*/ 159 h 379"/>
                  <a:gd name="T66" fmla="*/ 89 w 581"/>
                  <a:gd name="T67" fmla="*/ 203 h 379"/>
                  <a:gd name="T68" fmla="*/ 78 w 581"/>
                  <a:gd name="T69" fmla="*/ 249 h 379"/>
                  <a:gd name="T70" fmla="*/ 41 w 581"/>
                  <a:gd name="T71" fmla="*/ 214 h 379"/>
                  <a:gd name="T72" fmla="*/ 29 w 581"/>
                  <a:gd name="T73" fmla="*/ 207 h 379"/>
                  <a:gd name="T74" fmla="*/ 15 w 581"/>
                  <a:gd name="T75" fmla="*/ 208 h 379"/>
                  <a:gd name="T76" fmla="*/ 4 w 581"/>
                  <a:gd name="T77" fmla="*/ 218 h 379"/>
                  <a:gd name="T78" fmla="*/ 0 w 581"/>
                  <a:gd name="T79" fmla="*/ 231 h 379"/>
                  <a:gd name="T80" fmla="*/ 5 w 581"/>
                  <a:gd name="T81" fmla="*/ 245 h 379"/>
                  <a:gd name="T82" fmla="*/ 96 w 581"/>
                  <a:gd name="T83" fmla="*/ 377 h 379"/>
                  <a:gd name="T84" fmla="*/ 107 w 581"/>
                  <a:gd name="T85" fmla="*/ 379 h 379"/>
                  <a:gd name="T86" fmla="*/ 118 w 581"/>
                  <a:gd name="T87" fmla="*/ 378 h 379"/>
                  <a:gd name="T88" fmla="*/ 223 w 581"/>
                  <a:gd name="T89" fmla="*/ 256 h 379"/>
                  <a:gd name="T90" fmla="*/ 229 w 581"/>
                  <a:gd name="T91" fmla="*/ 242 h 379"/>
                  <a:gd name="T92" fmla="*/ 227 w 581"/>
                  <a:gd name="T93" fmla="*/ 22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81" h="379">
                    <a:moveTo>
                      <a:pt x="220" y="221"/>
                    </a:moveTo>
                    <a:lnTo>
                      <a:pt x="217" y="219"/>
                    </a:lnTo>
                    <a:lnTo>
                      <a:pt x="212" y="217"/>
                    </a:lnTo>
                    <a:lnTo>
                      <a:pt x="208" y="216"/>
                    </a:lnTo>
                    <a:lnTo>
                      <a:pt x="203" y="216"/>
                    </a:lnTo>
                    <a:lnTo>
                      <a:pt x="198" y="217"/>
                    </a:lnTo>
                    <a:lnTo>
                      <a:pt x="195" y="219"/>
                    </a:lnTo>
                    <a:lnTo>
                      <a:pt x="190" y="221"/>
                    </a:lnTo>
                    <a:lnTo>
                      <a:pt x="187" y="226"/>
                    </a:lnTo>
                    <a:lnTo>
                      <a:pt x="124" y="301"/>
                    </a:lnTo>
                    <a:lnTo>
                      <a:pt x="123" y="283"/>
                    </a:lnTo>
                    <a:lnTo>
                      <a:pt x="124" y="267"/>
                    </a:lnTo>
                    <a:lnTo>
                      <a:pt x="126" y="250"/>
                    </a:lnTo>
                    <a:lnTo>
                      <a:pt x="131" y="233"/>
                    </a:lnTo>
                    <a:lnTo>
                      <a:pt x="135" y="216"/>
                    </a:lnTo>
                    <a:lnTo>
                      <a:pt x="140" y="200"/>
                    </a:lnTo>
                    <a:lnTo>
                      <a:pt x="148" y="184"/>
                    </a:lnTo>
                    <a:lnTo>
                      <a:pt x="157" y="167"/>
                    </a:lnTo>
                    <a:lnTo>
                      <a:pt x="164" y="157"/>
                    </a:lnTo>
                    <a:lnTo>
                      <a:pt x="170" y="147"/>
                    </a:lnTo>
                    <a:lnTo>
                      <a:pt x="178" y="138"/>
                    </a:lnTo>
                    <a:lnTo>
                      <a:pt x="187" y="128"/>
                    </a:lnTo>
                    <a:lnTo>
                      <a:pt x="195" y="119"/>
                    </a:lnTo>
                    <a:lnTo>
                      <a:pt x="203" y="110"/>
                    </a:lnTo>
                    <a:lnTo>
                      <a:pt x="213" y="102"/>
                    </a:lnTo>
                    <a:lnTo>
                      <a:pt x="223" y="94"/>
                    </a:lnTo>
                    <a:lnTo>
                      <a:pt x="233" y="88"/>
                    </a:lnTo>
                    <a:lnTo>
                      <a:pt x="243" y="81"/>
                    </a:lnTo>
                    <a:lnTo>
                      <a:pt x="254" y="76"/>
                    </a:lnTo>
                    <a:lnTo>
                      <a:pt x="265" y="70"/>
                    </a:lnTo>
                    <a:lnTo>
                      <a:pt x="276" y="65"/>
                    </a:lnTo>
                    <a:lnTo>
                      <a:pt x="287" y="60"/>
                    </a:lnTo>
                    <a:lnTo>
                      <a:pt x="299" y="57"/>
                    </a:lnTo>
                    <a:lnTo>
                      <a:pt x="312" y="54"/>
                    </a:lnTo>
                    <a:lnTo>
                      <a:pt x="327" y="50"/>
                    </a:lnTo>
                    <a:lnTo>
                      <a:pt x="343" y="49"/>
                    </a:lnTo>
                    <a:lnTo>
                      <a:pt x="358" y="48"/>
                    </a:lnTo>
                    <a:lnTo>
                      <a:pt x="375" y="48"/>
                    </a:lnTo>
                    <a:lnTo>
                      <a:pt x="390" y="49"/>
                    </a:lnTo>
                    <a:lnTo>
                      <a:pt x="405" y="50"/>
                    </a:lnTo>
                    <a:lnTo>
                      <a:pt x="421" y="54"/>
                    </a:lnTo>
                    <a:lnTo>
                      <a:pt x="435" y="58"/>
                    </a:lnTo>
                    <a:lnTo>
                      <a:pt x="450" y="64"/>
                    </a:lnTo>
                    <a:lnTo>
                      <a:pt x="464" y="69"/>
                    </a:lnTo>
                    <a:lnTo>
                      <a:pt x="478" y="77"/>
                    </a:lnTo>
                    <a:lnTo>
                      <a:pt x="492" y="85"/>
                    </a:lnTo>
                    <a:lnTo>
                      <a:pt x="505" y="93"/>
                    </a:lnTo>
                    <a:lnTo>
                      <a:pt x="517" y="103"/>
                    </a:lnTo>
                    <a:lnTo>
                      <a:pt x="528" y="114"/>
                    </a:lnTo>
                    <a:lnTo>
                      <a:pt x="539" y="126"/>
                    </a:lnTo>
                    <a:lnTo>
                      <a:pt x="542" y="130"/>
                    </a:lnTo>
                    <a:lnTo>
                      <a:pt x="547" y="132"/>
                    </a:lnTo>
                    <a:lnTo>
                      <a:pt x="551" y="133"/>
                    </a:lnTo>
                    <a:lnTo>
                      <a:pt x="556" y="134"/>
                    </a:lnTo>
                    <a:lnTo>
                      <a:pt x="560" y="134"/>
                    </a:lnTo>
                    <a:lnTo>
                      <a:pt x="565" y="133"/>
                    </a:lnTo>
                    <a:lnTo>
                      <a:pt x="569" y="131"/>
                    </a:lnTo>
                    <a:lnTo>
                      <a:pt x="573" y="129"/>
                    </a:lnTo>
                    <a:lnTo>
                      <a:pt x="577" y="125"/>
                    </a:lnTo>
                    <a:lnTo>
                      <a:pt x="579" y="121"/>
                    </a:lnTo>
                    <a:lnTo>
                      <a:pt x="581" y="117"/>
                    </a:lnTo>
                    <a:lnTo>
                      <a:pt x="581" y="112"/>
                    </a:lnTo>
                    <a:lnTo>
                      <a:pt x="581" y="108"/>
                    </a:lnTo>
                    <a:lnTo>
                      <a:pt x="580" y="103"/>
                    </a:lnTo>
                    <a:lnTo>
                      <a:pt x="578" y="99"/>
                    </a:lnTo>
                    <a:lnTo>
                      <a:pt x="576" y="94"/>
                    </a:lnTo>
                    <a:lnTo>
                      <a:pt x="562" y="81"/>
                    </a:lnTo>
                    <a:lnTo>
                      <a:pt x="548" y="68"/>
                    </a:lnTo>
                    <a:lnTo>
                      <a:pt x="532" y="56"/>
                    </a:lnTo>
                    <a:lnTo>
                      <a:pt x="517" y="45"/>
                    </a:lnTo>
                    <a:lnTo>
                      <a:pt x="502" y="35"/>
                    </a:lnTo>
                    <a:lnTo>
                      <a:pt x="485" y="27"/>
                    </a:lnTo>
                    <a:lnTo>
                      <a:pt x="467" y="19"/>
                    </a:lnTo>
                    <a:lnTo>
                      <a:pt x="450" y="13"/>
                    </a:lnTo>
                    <a:lnTo>
                      <a:pt x="432" y="8"/>
                    </a:lnTo>
                    <a:lnTo>
                      <a:pt x="413" y="4"/>
                    </a:lnTo>
                    <a:lnTo>
                      <a:pt x="394" y="2"/>
                    </a:lnTo>
                    <a:lnTo>
                      <a:pt x="376" y="0"/>
                    </a:lnTo>
                    <a:lnTo>
                      <a:pt x="357" y="0"/>
                    </a:lnTo>
                    <a:lnTo>
                      <a:pt x="338" y="1"/>
                    </a:lnTo>
                    <a:lnTo>
                      <a:pt x="319" y="4"/>
                    </a:lnTo>
                    <a:lnTo>
                      <a:pt x="301" y="7"/>
                    </a:lnTo>
                    <a:lnTo>
                      <a:pt x="286" y="12"/>
                    </a:lnTo>
                    <a:lnTo>
                      <a:pt x="272" y="16"/>
                    </a:lnTo>
                    <a:lnTo>
                      <a:pt x="259" y="20"/>
                    </a:lnTo>
                    <a:lnTo>
                      <a:pt x="245" y="27"/>
                    </a:lnTo>
                    <a:lnTo>
                      <a:pt x="232" y="34"/>
                    </a:lnTo>
                    <a:lnTo>
                      <a:pt x="219" y="40"/>
                    </a:lnTo>
                    <a:lnTo>
                      <a:pt x="207" y="48"/>
                    </a:lnTo>
                    <a:lnTo>
                      <a:pt x="195" y="57"/>
                    </a:lnTo>
                    <a:lnTo>
                      <a:pt x="184" y="66"/>
                    </a:lnTo>
                    <a:lnTo>
                      <a:pt x="171" y="76"/>
                    </a:lnTo>
                    <a:lnTo>
                      <a:pt x="161" y="86"/>
                    </a:lnTo>
                    <a:lnTo>
                      <a:pt x="152" y="97"/>
                    </a:lnTo>
                    <a:lnTo>
                      <a:pt x="142" y="108"/>
                    </a:lnTo>
                    <a:lnTo>
                      <a:pt x="132" y="119"/>
                    </a:lnTo>
                    <a:lnTo>
                      <a:pt x="124" y="131"/>
                    </a:lnTo>
                    <a:lnTo>
                      <a:pt x="115" y="144"/>
                    </a:lnTo>
                    <a:lnTo>
                      <a:pt x="107" y="159"/>
                    </a:lnTo>
                    <a:lnTo>
                      <a:pt x="101" y="173"/>
                    </a:lnTo>
                    <a:lnTo>
                      <a:pt x="94" y="188"/>
                    </a:lnTo>
                    <a:lnTo>
                      <a:pt x="89" y="203"/>
                    </a:lnTo>
                    <a:lnTo>
                      <a:pt x="84" y="218"/>
                    </a:lnTo>
                    <a:lnTo>
                      <a:pt x="81" y="234"/>
                    </a:lnTo>
                    <a:lnTo>
                      <a:pt x="78" y="249"/>
                    </a:lnTo>
                    <a:lnTo>
                      <a:pt x="76" y="265"/>
                    </a:lnTo>
                    <a:lnTo>
                      <a:pt x="44" y="217"/>
                    </a:lnTo>
                    <a:lnTo>
                      <a:pt x="41" y="214"/>
                    </a:lnTo>
                    <a:lnTo>
                      <a:pt x="37" y="210"/>
                    </a:lnTo>
                    <a:lnTo>
                      <a:pt x="33" y="208"/>
                    </a:lnTo>
                    <a:lnTo>
                      <a:pt x="29" y="207"/>
                    </a:lnTo>
                    <a:lnTo>
                      <a:pt x="25" y="207"/>
                    </a:lnTo>
                    <a:lnTo>
                      <a:pt x="19" y="207"/>
                    </a:lnTo>
                    <a:lnTo>
                      <a:pt x="15" y="208"/>
                    </a:lnTo>
                    <a:lnTo>
                      <a:pt x="10" y="212"/>
                    </a:lnTo>
                    <a:lnTo>
                      <a:pt x="7" y="214"/>
                    </a:lnTo>
                    <a:lnTo>
                      <a:pt x="4" y="218"/>
                    </a:lnTo>
                    <a:lnTo>
                      <a:pt x="1" y="221"/>
                    </a:lnTo>
                    <a:lnTo>
                      <a:pt x="0" y="226"/>
                    </a:lnTo>
                    <a:lnTo>
                      <a:pt x="0" y="231"/>
                    </a:lnTo>
                    <a:lnTo>
                      <a:pt x="0" y="236"/>
                    </a:lnTo>
                    <a:lnTo>
                      <a:pt x="1" y="240"/>
                    </a:lnTo>
                    <a:lnTo>
                      <a:pt x="5" y="245"/>
                    </a:lnTo>
                    <a:lnTo>
                      <a:pt x="89" y="369"/>
                    </a:lnTo>
                    <a:lnTo>
                      <a:pt x="92" y="374"/>
                    </a:lnTo>
                    <a:lnTo>
                      <a:pt x="96" y="377"/>
                    </a:lnTo>
                    <a:lnTo>
                      <a:pt x="102" y="379"/>
                    </a:lnTo>
                    <a:lnTo>
                      <a:pt x="107" y="379"/>
                    </a:lnTo>
                    <a:lnTo>
                      <a:pt x="107" y="379"/>
                    </a:lnTo>
                    <a:lnTo>
                      <a:pt x="108" y="379"/>
                    </a:lnTo>
                    <a:lnTo>
                      <a:pt x="114" y="379"/>
                    </a:lnTo>
                    <a:lnTo>
                      <a:pt x="118" y="378"/>
                    </a:lnTo>
                    <a:lnTo>
                      <a:pt x="123" y="375"/>
                    </a:lnTo>
                    <a:lnTo>
                      <a:pt x="126" y="372"/>
                    </a:lnTo>
                    <a:lnTo>
                      <a:pt x="223" y="256"/>
                    </a:lnTo>
                    <a:lnTo>
                      <a:pt x="227" y="251"/>
                    </a:lnTo>
                    <a:lnTo>
                      <a:pt x="228" y="247"/>
                    </a:lnTo>
                    <a:lnTo>
                      <a:pt x="229" y="242"/>
                    </a:lnTo>
                    <a:lnTo>
                      <a:pt x="229" y="238"/>
                    </a:lnTo>
                    <a:lnTo>
                      <a:pt x="228" y="234"/>
                    </a:lnTo>
                    <a:lnTo>
                      <a:pt x="227" y="229"/>
                    </a:lnTo>
                    <a:lnTo>
                      <a:pt x="223" y="225"/>
                    </a:lnTo>
                    <a:lnTo>
                      <a:pt x="220" y="2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grpSp>
        <p:sp>
          <p:nvSpPr>
            <p:cNvPr id="37" name="Content Placeholder 2">
              <a:extLst>
                <a:ext uri="{FF2B5EF4-FFF2-40B4-BE49-F238E27FC236}">
                  <a16:creationId xmlns:a16="http://schemas.microsoft.com/office/drawing/2014/main" id="{801F0608-5AF0-40BB-BB6B-DE32FA87473F}"/>
                </a:ext>
              </a:extLst>
            </p:cNvPr>
            <p:cNvSpPr txBox="1">
              <a:spLocks/>
            </p:cNvSpPr>
            <p:nvPr/>
          </p:nvSpPr>
          <p:spPr>
            <a:xfrm>
              <a:off x="8153112" y="5425330"/>
              <a:ext cx="2139238" cy="193899"/>
            </a:xfrm>
            <a:prstGeom prst="rect">
              <a:avLst/>
            </a:prstGeom>
          </p:spPr>
          <p:txBody>
            <a:bodyPr wrap="square" lIns="0" tIns="0" rIns="0" bIns="0">
              <a:spAutoFit/>
            </a:bodyPr>
            <a:lstStyle>
              <a:defPPr>
                <a:defRPr lang="id-ID"/>
              </a:defPPr>
              <a:lvl1pPr algn="ctr">
                <a:defRPr sz="1400">
                  <a:solidFill>
                    <a:schemeClr val="accent2"/>
                  </a:solidFill>
                  <a:latin typeface="Century Gothic" panose="020B0502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300"/>
                </a:spcAft>
                <a:buClrTx/>
                <a:buSzTx/>
                <a:buFontTx/>
                <a:buNone/>
                <a:tabLst/>
                <a:defRPr/>
              </a:pPr>
              <a:r>
                <a:rPr lang="en-US" dirty="0">
                  <a:solidFill>
                    <a:schemeClr val="tx1"/>
                  </a:solidFill>
                  <a:latin typeface="+mn-lt"/>
                </a:rPr>
                <a:t>Results</a:t>
              </a:r>
              <a:endParaRPr kumimoji="0" lang="en-US" b="0" i="0" u="none" strike="noStrike" kern="1200" cap="none" spc="0" normalizeH="0" baseline="0" noProof="0" dirty="0">
                <a:ln>
                  <a:noFill/>
                </a:ln>
                <a:solidFill>
                  <a:schemeClr val="tx1"/>
                </a:solidFill>
                <a:effectLst/>
                <a:uLnTx/>
                <a:uFillTx/>
                <a:latin typeface="+mn-lt"/>
                <a:ea typeface="+mn-ea"/>
                <a:cs typeface="+mn-cs"/>
              </a:endParaRPr>
            </a:p>
          </p:txBody>
        </p:sp>
        <p:sp>
          <p:nvSpPr>
            <p:cNvPr id="48" name="Freeform 1669">
              <a:extLst>
                <a:ext uri="{FF2B5EF4-FFF2-40B4-BE49-F238E27FC236}">
                  <a16:creationId xmlns:a16="http://schemas.microsoft.com/office/drawing/2014/main" id="{AEBF21E1-C1FD-454C-9001-61A16BC7EE3D}"/>
                </a:ext>
              </a:extLst>
            </p:cNvPr>
            <p:cNvSpPr>
              <a:spLocks noEditPoints="1"/>
            </p:cNvSpPr>
            <p:nvPr/>
          </p:nvSpPr>
          <p:spPr bwMode="auto">
            <a:xfrm>
              <a:off x="9028811" y="4854575"/>
              <a:ext cx="377176" cy="377176"/>
            </a:xfrm>
            <a:custGeom>
              <a:avLst/>
              <a:gdLst>
                <a:gd name="T0" fmla="*/ 519 w 719"/>
                <a:gd name="T1" fmla="*/ 263 h 719"/>
                <a:gd name="T2" fmla="*/ 292 w 719"/>
                <a:gd name="T3" fmla="*/ 475 h 719"/>
                <a:gd name="T4" fmla="*/ 289 w 719"/>
                <a:gd name="T5" fmla="*/ 477 h 719"/>
                <a:gd name="T6" fmla="*/ 284 w 719"/>
                <a:gd name="T7" fmla="*/ 479 h 719"/>
                <a:gd name="T8" fmla="*/ 280 w 719"/>
                <a:gd name="T9" fmla="*/ 477 h 719"/>
                <a:gd name="T10" fmla="*/ 275 w 719"/>
                <a:gd name="T11" fmla="*/ 475 h 719"/>
                <a:gd name="T12" fmla="*/ 200 w 719"/>
                <a:gd name="T13" fmla="*/ 400 h 719"/>
                <a:gd name="T14" fmla="*/ 198 w 719"/>
                <a:gd name="T15" fmla="*/ 396 h 719"/>
                <a:gd name="T16" fmla="*/ 197 w 719"/>
                <a:gd name="T17" fmla="*/ 391 h 719"/>
                <a:gd name="T18" fmla="*/ 198 w 719"/>
                <a:gd name="T19" fmla="*/ 387 h 719"/>
                <a:gd name="T20" fmla="*/ 200 w 719"/>
                <a:gd name="T21" fmla="*/ 382 h 719"/>
                <a:gd name="T22" fmla="*/ 205 w 719"/>
                <a:gd name="T23" fmla="*/ 380 h 719"/>
                <a:gd name="T24" fmla="*/ 209 w 719"/>
                <a:gd name="T25" fmla="*/ 379 h 719"/>
                <a:gd name="T26" fmla="*/ 213 w 719"/>
                <a:gd name="T27" fmla="*/ 380 h 719"/>
                <a:gd name="T28" fmla="*/ 217 w 719"/>
                <a:gd name="T29" fmla="*/ 382 h 719"/>
                <a:gd name="T30" fmla="*/ 284 w 719"/>
                <a:gd name="T31" fmla="*/ 450 h 719"/>
                <a:gd name="T32" fmla="*/ 503 w 719"/>
                <a:gd name="T33" fmla="*/ 247 h 719"/>
                <a:gd name="T34" fmla="*/ 507 w 719"/>
                <a:gd name="T35" fmla="*/ 243 h 719"/>
                <a:gd name="T36" fmla="*/ 512 w 719"/>
                <a:gd name="T37" fmla="*/ 243 h 719"/>
                <a:gd name="T38" fmla="*/ 516 w 719"/>
                <a:gd name="T39" fmla="*/ 243 h 719"/>
                <a:gd name="T40" fmla="*/ 519 w 719"/>
                <a:gd name="T41" fmla="*/ 247 h 719"/>
                <a:gd name="T42" fmla="*/ 522 w 719"/>
                <a:gd name="T43" fmla="*/ 251 h 719"/>
                <a:gd name="T44" fmla="*/ 523 w 719"/>
                <a:gd name="T45" fmla="*/ 255 h 719"/>
                <a:gd name="T46" fmla="*/ 522 w 719"/>
                <a:gd name="T47" fmla="*/ 260 h 719"/>
                <a:gd name="T48" fmla="*/ 519 w 719"/>
                <a:gd name="T49" fmla="*/ 263 h 719"/>
                <a:gd name="T50" fmla="*/ 707 w 719"/>
                <a:gd name="T51" fmla="*/ 0 h 719"/>
                <a:gd name="T52" fmla="*/ 12 w 719"/>
                <a:gd name="T53" fmla="*/ 0 h 719"/>
                <a:gd name="T54" fmla="*/ 8 w 719"/>
                <a:gd name="T55" fmla="*/ 2 h 719"/>
                <a:gd name="T56" fmla="*/ 4 w 719"/>
                <a:gd name="T57" fmla="*/ 5 h 719"/>
                <a:gd name="T58" fmla="*/ 1 w 719"/>
                <a:gd name="T59" fmla="*/ 8 h 719"/>
                <a:gd name="T60" fmla="*/ 0 w 719"/>
                <a:gd name="T61" fmla="*/ 13 h 719"/>
                <a:gd name="T62" fmla="*/ 0 w 719"/>
                <a:gd name="T63" fmla="*/ 707 h 719"/>
                <a:gd name="T64" fmla="*/ 1 w 719"/>
                <a:gd name="T65" fmla="*/ 713 h 719"/>
                <a:gd name="T66" fmla="*/ 4 w 719"/>
                <a:gd name="T67" fmla="*/ 716 h 719"/>
                <a:gd name="T68" fmla="*/ 8 w 719"/>
                <a:gd name="T69" fmla="*/ 719 h 719"/>
                <a:gd name="T70" fmla="*/ 12 w 719"/>
                <a:gd name="T71" fmla="*/ 719 h 719"/>
                <a:gd name="T72" fmla="*/ 707 w 719"/>
                <a:gd name="T73" fmla="*/ 719 h 719"/>
                <a:gd name="T74" fmla="*/ 711 w 719"/>
                <a:gd name="T75" fmla="*/ 719 h 719"/>
                <a:gd name="T76" fmla="*/ 716 w 719"/>
                <a:gd name="T77" fmla="*/ 716 h 719"/>
                <a:gd name="T78" fmla="*/ 718 w 719"/>
                <a:gd name="T79" fmla="*/ 713 h 719"/>
                <a:gd name="T80" fmla="*/ 719 w 719"/>
                <a:gd name="T81" fmla="*/ 707 h 719"/>
                <a:gd name="T82" fmla="*/ 719 w 719"/>
                <a:gd name="T83" fmla="*/ 13 h 719"/>
                <a:gd name="T84" fmla="*/ 718 w 719"/>
                <a:gd name="T85" fmla="*/ 8 h 719"/>
                <a:gd name="T86" fmla="*/ 716 w 719"/>
                <a:gd name="T87" fmla="*/ 5 h 719"/>
                <a:gd name="T88" fmla="*/ 711 w 719"/>
                <a:gd name="T89" fmla="*/ 2 h 719"/>
                <a:gd name="T90" fmla="*/ 707 w 719"/>
                <a:gd name="T91"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19" h="719">
                  <a:moveTo>
                    <a:pt x="519" y="263"/>
                  </a:moveTo>
                  <a:lnTo>
                    <a:pt x="292" y="475"/>
                  </a:lnTo>
                  <a:lnTo>
                    <a:pt x="289" y="477"/>
                  </a:lnTo>
                  <a:lnTo>
                    <a:pt x="284" y="479"/>
                  </a:lnTo>
                  <a:lnTo>
                    <a:pt x="280" y="477"/>
                  </a:lnTo>
                  <a:lnTo>
                    <a:pt x="275" y="475"/>
                  </a:lnTo>
                  <a:lnTo>
                    <a:pt x="200" y="400"/>
                  </a:lnTo>
                  <a:lnTo>
                    <a:pt x="198" y="396"/>
                  </a:lnTo>
                  <a:lnTo>
                    <a:pt x="197" y="391"/>
                  </a:lnTo>
                  <a:lnTo>
                    <a:pt x="198" y="387"/>
                  </a:lnTo>
                  <a:lnTo>
                    <a:pt x="200" y="382"/>
                  </a:lnTo>
                  <a:lnTo>
                    <a:pt x="205" y="380"/>
                  </a:lnTo>
                  <a:lnTo>
                    <a:pt x="209" y="379"/>
                  </a:lnTo>
                  <a:lnTo>
                    <a:pt x="213" y="380"/>
                  </a:lnTo>
                  <a:lnTo>
                    <a:pt x="217" y="382"/>
                  </a:lnTo>
                  <a:lnTo>
                    <a:pt x="284" y="450"/>
                  </a:lnTo>
                  <a:lnTo>
                    <a:pt x="503" y="247"/>
                  </a:lnTo>
                  <a:lnTo>
                    <a:pt x="507" y="243"/>
                  </a:lnTo>
                  <a:lnTo>
                    <a:pt x="512" y="243"/>
                  </a:lnTo>
                  <a:lnTo>
                    <a:pt x="516" y="243"/>
                  </a:lnTo>
                  <a:lnTo>
                    <a:pt x="519" y="247"/>
                  </a:lnTo>
                  <a:lnTo>
                    <a:pt x="522" y="251"/>
                  </a:lnTo>
                  <a:lnTo>
                    <a:pt x="523" y="255"/>
                  </a:lnTo>
                  <a:lnTo>
                    <a:pt x="522" y="260"/>
                  </a:lnTo>
                  <a:lnTo>
                    <a:pt x="519" y="263"/>
                  </a:lnTo>
                  <a:close/>
                  <a:moveTo>
                    <a:pt x="707" y="0"/>
                  </a:moveTo>
                  <a:lnTo>
                    <a:pt x="12" y="0"/>
                  </a:lnTo>
                  <a:lnTo>
                    <a:pt x="8" y="2"/>
                  </a:lnTo>
                  <a:lnTo>
                    <a:pt x="4" y="5"/>
                  </a:lnTo>
                  <a:lnTo>
                    <a:pt x="1" y="8"/>
                  </a:lnTo>
                  <a:lnTo>
                    <a:pt x="0" y="13"/>
                  </a:lnTo>
                  <a:lnTo>
                    <a:pt x="0" y="707"/>
                  </a:lnTo>
                  <a:lnTo>
                    <a:pt x="1" y="713"/>
                  </a:lnTo>
                  <a:lnTo>
                    <a:pt x="4"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38" name="Content Placeholder 2">
              <a:extLst>
                <a:ext uri="{FF2B5EF4-FFF2-40B4-BE49-F238E27FC236}">
                  <a16:creationId xmlns:a16="http://schemas.microsoft.com/office/drawing/2014/main" id="{DB1C8B27-8A53-4590-A9E8-4872BBFE1240}"/>
                </a:ext>
              </a:extLst>
            </p:cNvPr>
            <p:cNvSpPr txBox="1">
              <a:spLocks/>
            </p:cNvSpPr>
            <p:nvPr/>
          </p:nvSpPr>
          <p:spPr>
            <a:xfrm>
              <a:off x="4954592" y="5425330"/>
              <a:ext cx="2139238" cy="891013"/>
            </a:xfrm>
            <a:prstGeom prst="rect">
              <a:avLst/>
            </a:prstGeom>
          </p:spPr>
          <p:txBody>
            <a:bodyPr wrap="square" lIns="0" tIns="0" rIns="0" bIns="0">
              <a:spAutoFit/>
            </a:bodyPr>
            <a:lstStyle>
              <a:defPPr>
                <a:defRPr lang="id-ID"/>
              </a:defPPr>
              <a:lvl1pPr algn="ctr">
                <a:defRPr sz="1400">
                  <a:solidFill>
                    <a:schemeClr val="accent2"/>
                  </a:solidFill>
                  <a:latin typeface="Century Gothic" panose="020B0502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300"/>
                </a:spcAft>
                <a:buClrTx/>
                <a:buSzTx/>
                <a:buFontTx/>
                <a:buNone/>
                <a:tabLst/>
                <a:defRPr/>
              </a:pPr>
              <a:r>
                <a:rPr lang="en-US" dirty="0">
                  <a:solidFill>
                    <a:schemeClr val="tx1"/>
                  </a:solidFill>
                  <a:latin typeface="+mn-lt"/>
                </a:rPr>
                <a:t>Classification</a:t>
              </a:r>
            </a:p>
            <a:p>
              <a:pPr marL="0" marR="0" lvl="0" indent="0" algn="ctr" defTabSz="914400" rtl="0" eaLnBrk="1" fontAlgn="auto" latinLnBrk="0" hangingPunct="1">
                <a:lnSpc>
                  <a:spcPct val="90000"/>
                </a:lnSpc>
                <a:spcBef>
                  <a:spcPts val="0"/>
                </a:spcBef>
                <a:spcAft>
                  <a:spcPts val="300"/>
                </a:spcAft>
                <a:buClrTx/>
                <a:buSzTx/>
                <a:buFontTx/>
                <a:buNone/>
                <a:tabLst/>
                <a:defRPr/>
              </a:pPr>
              <a:r>
                <a:rPr kumimoji="0" lang="en-US" b="0" i="0" u="none" strike="noStrike" kern="1200" cap="none" spc="0" normalizeH="0" baseline="0" noProof="0" dirty="0">
                  <a:ln>
                    <a:noFill/>
                  </a:ln>
                  <a:solidFill>
                    <a:schemeClr val="tx1"/>
                  </a:solidFill>
                  <a:effectLst/>
                  <a:uLnTx/>
                  <a:uFillTx/>
                  <a:latin typeface="+mn-lt"/>
                  <a:ea typeface="+mn-ea"/>
                  <a:cs typeface="+mn-cs"/>
                </a:rPr>
                <a:t>Logistic Regression</a:t>
              </a:r>
            </a:p>
            <a:p>
              <a:pPr marL="0" marR="0" lvl="0" indent="0" algn="ctr" defTabSz="914400" rtl="0" eaLnBrk="1" fontAlgn="auto" latinLnBrk="0" hangingPunct="1">
                <a:lnSpc>
                  <a:spcPct val="90000"/>
                </a:lnSpc>
                <a:spcBef>
                  <a:spcPts val="0"/>
                </a:spcBef>
                <a:spcAft>
                  <a:spcPts val="300"/>
                </a:spcAft>
                <a:buClrTx/>
                <a:buSzTx/>
                <a:buFontTx/>
                <a:buNone/>
                <a:tabLst/>
                <a:defRPr/>
              </a:pPr>
              <a:r>
                <a:rPr lang="en-US" dirty="0">
                  <a:solidFill>
                    <a:schemeClr val="tx1"/>
                  </a:solidFill>
                  <a:latin typeface="+mn-lt"/>
                </a:rPr>
                <a:t>SVM</a:t>
              </a:r>
            </a:p>
            <a:p>
              <a:pPr marL="0" marR="0" lvl="0" indent="0" algn="ctr" defTabSz="914400" rtl="0" eaLnBrk="1" fontAlgn="auto" latinLnBrk="0" hangingPunct="1">
                <a:lnSpc>
                  <a:spcPct val="90000"/>
                </a:lnSpc>
                <a:spcBef>
                  <a:spcPts val="0"/>
                </a:spcBef>
                <a:spcAft>
                  <a:spcPts val="300"/>
                </a:spcAft>
                <a:buClrTx/>
                <a:buSzTx/>
                <a:buFontTx/>
                <a:buNone/>
                <a:tabLst/>
                <a:defRPr/>
              </a:pPr>
              <a:r>
                <a:rPr kumimoji="0" lang="en-US" b="0" i="0" u="none" strike="noStrike" kern="1200" cap="none" spc="0" normalizeH="0" baseline="0" noProof="0" dirty="0">
                  <a:ln>
                    <a:noFill/>
                  </a:ln>
                  <a:solidFill>
                    <a:schemeClr val="tx1"/>
                  </a:solidFill>
                  <a:effectLst/>
                  <a:uLnTx/>
                  <a:uFillTx/>
                  <a:latin typeface="+mn-lt"/>
                  <a:ea typeface="+mn-ea"/>
                  <a:cs typeface="+mn-cs"/>
                </a:rPr>
                <a:t>Naïve Bayes</a:t>
              </a:r>
            </a:p>
          </p:txBody>
        </p:sp>
        <p:grpSp>
          <p:nvGrpSpPr>
            <p:cNvPr id="49" name="Group 48">
              <a:extLst>
                <a:ext uri="{FF2B5EF4-FFF2-40B4-BE49-F238E27FC236}">
                  <a16:creationId xmlns:a16="http://schemas.microsoft.com/office/drawing/2014/main" id="{4C117339-8A3F-4EE1-9D93-E585D2A37D17}"/>
                </a:ext>
              </a:extLst>
            </p:cNvPr>
            <p:cNvGrpSpPr/>
            <p:nvPr/>
          </p:nvGrpSpPr>
          <p:grpSpPr>
            <a:xfrm>
              <a:off x="5842894" y="4870290"/>
              <a:ext cx="375082" cy="345745"/>
              <a:chOff x="4313201" y="1920875"/>
              <a:chExt cx="284163" cy="261938"/>
            </a:xfrm>
            <a:solidFill>
              <a:schemeClr val="accent1"/>
            </a:solidFill>
          </p:grpSpPr>
          <p:sp>
            <p:nvSpPr>
              <p:cNvPr id="59" name="Freeform 3131">
                <a:extLst>
                  <a:ext uri="{FF2B5EF4-FFF2-40B4-BE49-F238E27FC236}">
                    <a16:creationId xmlns:a16="http://schemas.microsoft.com/office/drawing/2014/main" id="{FB771899-B7FE-4921-9A74-C6D71F071D58}"/>
                  </a:ext>
                </a:extLst>
              </p:cNvPr>
              <p:cNvSpPr>
                <a:spLocks/>
              </p:cNvSpPr>
              <p:nvPr/>
            </p:nvSpPr>
            <p:spPr bwMode="auto">
              <a:xfrm>
                <a:off x="4313201" y="1920875"/>
                <a:ext cx="236538" cy="200025"/>
              </a:xfrm>
              <a:custGeom>
                <a:avLst/>
                <a:gdLst>
                  <a:gd name="T0" fmla="*/ 599 w 599"/>
                  <a:gd name="T1" fmla="*/ 12 h 503"/>
                  <a:gd name="T2" fmla="*/ 599 w 599"/>
                  <a:gd name="T3" fmla="*/ 7 h 503"/>
                  <a:gd name="T4" fmla="*/ 595 w 599"/>
                  <a:gd name="T5" fmla="*/ 3 h 503"/>
                  <a:gd name="T6" fmla="*/ 592 w 599"/>
                  <a:gd name="T7" fmla="*/ 1 h 503"/>
                  <a:gd name="T8" fmla="*/ 587 w 599"/>
                  <a:gd name="T9" fmla="*/ 0 h 503"/>
                  <a:gd name="T10" fmla="*/ 12 w 599"/>
                  <a:gd name="T11" fmla="*/ 0 h 503"/>
                  <a:gd name="T12" fmla="*/ 8 w 599"/>
                  <a:gd name="T13" fmla="*/ 1 h 503"/>
                  <a:gd name="T14" fmla="*/ 4 w 599"/>
                  <a:gd name="T15" fmla="*/ 3 h 503"/>
                  <a:gd name="T16" fmla="*/ 2 w 599"/>
                  <a:gd name="T17" fmla="*/ 7 h 503"/>
                  <a:gd name="T18" fmla="*/ 0 w 599"/>
                  <a:gd name="T19" fmla="*/ 12 h 503"/>
                  <a:gd name="T20" fmla="*/ 0 w 599"/>
                  <a:gd name="T21" fmla="*/ 371 h 503"/>
                  <a:gd name="T22" fmla="*/ 2 w 599"/>
                  <a:gd name="T23" fmla="*/ 376 h 503"/>
                  <a:gd name="T24" fmla="*/ 4 w 599"/>
                  <a:gd name="T25" fmla="*/ 379 h 503"/>
                  <a:gd name="T26" fmla="*/ 8 w 599"/>
                  <a:gd name="T27" fmla="*/ 382 h 503"/>
                  <a:gd name="T28" fmla="*/ 12 w 599"/>
                  <a:gd name="T29" fmla="*/ 383 h 503"/>
                  <a:gd name="T30" fmla="*/ 96 w 599"/>
                  <a:gd name="T31" fmla="*/ 383 h 503"/>
                  <a:gd name="T32" fmla="*/ 96 w 599"/>
                  <a:gd name="T33" fmla="*/ 490 h 503"/>
                  <a:gd name="T34" fmla="*/ 97 w 599"/>
                  <a:gd name="T35" fmla="*/ 493 h 503"/>
                  <a:gd name="T36" fmla="*/ 98 w 599"/>
                  <a:gd name="T37" fmla="*/ 497 h 503"/>
                  <a:gd name="T38" fmla="*/ 100 w 599"/>
                  <a:gd name="T39" fmla="*/ 499 h 503"/>
                  <a:gd name="T40" fmla="*/ 104 w 599"/>
                  <a:gd name="T41" fmla="*/ 502 h 503"/>
                  <a:gd name="T42" fmla="*/ 106 w 599"/>
                  <a:gd name="T43" fmla="*/ 502 h 503"/>
                  <a:gd name="T44" fmla="*/ 109 w 599"/>
                  <a:gd name="T45" fmla="*/ 503 h 503"/>
                  <a:gd name="T46" fmla="*/ 112 w 599"/>
                  <a:gd name="T47" fmla="*/ 502 h 503"/>
                  <a:gd name="T48" fmla="*/ 117 w 599"/>
                  <a:gd name="T49" fmla="*/ 499 h 503"/>
                  <a:gd name="T50" fmla="*/ 232 w 599"/>
                  <a:gd name="T51" fmla="*/ 383 h 503"/>
                  <a:gd name="T52" fmla="*/ 288 w 599"/>
                  <a:gd name="T53" fmla="*/ 383 h 503"/>
                  <a:gd name="T54" fmla="*/ 288 w 599"/>
                  <a:gd name="T55" fmla="*/ 251 h 503"/>
                  <a:gd name="T56" fmla="*/ 288 w 599"/>
                  <a:gd name="T57" fmla="*/ 246 h 503"/>
                  <a:gd name="T58" fmla="*/ 291 w 599"/>
                  <a:gd name="T59" fmla="*/ 242 h 503"/>
                  <a:gd name="T60" fmla="*/ 295 w 599"/>
                  <a:gd name="T61" fmla="*/ 240 h 503"/>
                  <a:gd name="T62" fmla="*/ 300 w 599"/>
                  <a:gd name="T63" fmla="*/ 239 h 503"/>
                  <a:gd name="T64" fmla="*/ 599 w 599"/>
                  <a:gd name="T65" fmla="*/ 239 h 503"/>
                  <a:gd name="T66" fmla="*/ 599 w 599"/>
                  <a:gd name="T67" fmla="*/ 1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99" h="503">
                    <a:moveTo>
                      <a:pt x="599" y="12"/>
                    </a:moveTo>
                    <a:lnTo>
                      <a:pt x="599" y="7"/>
                    </a:lnTo>
                    <a:lnTo>
                      <a:pt x="595" y="3"/>
                    </a:lnTo>
                    <a:lnTo>
                      <a:pt x="592" y="1"/>
                    </a:lnTo>
                    <a:lnTo>
                      <a:pt x="587" y="0"/>
                    </a:lnTo>
                    <a:lnTo>
                      <a:pt x="12" y="0"/>
                    </a:lnTo>
                    <a:lnTo>
                      <a:pt x="8" y="1"/>
                    </a:lnTo>
                    <a:lnTo>
                      <a:pt x="4" y="3"/>
                    </a:lnTo>
                    <a:lnTo>
                      <a:pt x="2" y="7"/>
                    </a:lnTo>
                    <a:lnTo>
                      <a:pt x="0" y="12"/>
                    </a:lnTo>
                    <a:lnTo>
                      <a:pt x="0" y="371"/>
                    </a:lnTo>
                    <a:lnTo>
                      <a:pt x="2" y="376"/>
                    </a:lnTo>
                    <a:lnTo>
                      <a:pt x="4" y="379"/>
                    </a:lnTo>
                    <a:lnTo>
                      <a:pt x="8" y="382"/>
                    </a:lnTo>
                    <a:lnTo>
                      <a:pt x="12" y="383"/>
                    </a:lnTo>
                    <a:lnTo>
                      <a:pt x="96" y="383"/>
                    </a:lnTo>
                    <a:lnTo>
                      <a:pt x="96" y="490"/>
                    </a:lnTo>
                    <a:lnTo>
                      <a:pt x="97" y="493"/>
                    </a:lnTo>
                    <a:lnTo>
                      <a:pt x="98" y="497"/>
                    </a:lnTo>
                    <a:lnTo>
                      <a:pt x="100" y="499"/>
                    </a:lnTo>
                    <a:lnTo>
                      <a:pt x="104" y="502"/>
                    </a:lnTo>
                    <a:lnTo>
                      <a:pt x="106" y="502"/>
                    </a:lnTo>
                    <a:lnTo>
                      <a:pt x="109" y="503"/>
                    </a:lnTo>
                    <a:lnTo>
                      <a:pt x="112" y="502"/>
                    </a:lnTo>
                    <a:lnTo>
                      <a:pt x="117" y="499"/>
                    </a:lnTo>
                    <a:lnTo>
                      <a:pt x="232" y="383"/>
                    </a:lnTo>
                    <a:lnTo>
                      <a:pt x="288" y="383"/>
                    </a:lnTo>
                    <a:lnTo>
                      <a:pt x="288" y="251"/>
                    </a:lnTo>
                    <a:lnTo>
                      <a:pt x="288" y="246"/>
                    </a:lnTo>
                    <a:lnTo>
                      <a:pt x="291" y="242"/>
                    </a:lnTo>
                    <a:lnTo>
                      <a:pt x="295" y="240"/>
                    </a:lnTo>
                    <a:lnTo>
                      <a:pt x="300" y="239"/>
                    </a:lnTo>
                    <a:lnTo>
                      <a:pt x="599" y="239"/>
                    </a:lnTo>
                    <a:lnTo>
                      <a:pt x="599"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60" name="Freeform 3132">
                <a:extLst>
                  <a:ext uri="{FF2B5EF4-FFF2-40B4-BE49-F238E27FC236}">
                    <a16:creationId xmlns:a16="http://schemas.microsoft.com/office/drawing/2014/main" id="{72FDE97C-537A-4B18-B6BE-95F2C0D3F4D0}"/>
                  </a:ext>
                </a:extLst>
              </p:cNvPr>
              <p:cNvSpPr>
                <a:spLocks/>
              </p:cNvSpPr>
              <p:nvPr/>
            </p:nvSpPr>
            <p:spPr bwMode="auto">
              <a:xfrm>
                <a:off x="4437026" y="2025650"/>
                <a:ext cx="160338" cy="157163"/>
              </a:xfrm>
              <a:custGeom>
                <a:avLst/>
                <a:gdLst>
                  <a:gd name="T0" fmla="*/ 395 w 407"/>
                  <a:gd name="T1" fmla="*/ 0 h 394"/>
                  <a:gd name="T2" fmla="*/ 12 w 407"/>
                  <a:gd name="T3" fmla="*/ 0 h 394"/>
                  <a:gd name="T4" fmla="*/ 0 w 407"/>
                  <a:gd name="T5" fmla="*/ 0 h 394"/>
                  <a:gd name="T6" fmla="*/ 0 w 407"/>
                  <a:gd name="T7" fmla="*/ 11 h 394"/>
                  <a:gd name="T8" fmla="*/ 0 w 407"/>
                  <a:gd name="T9" fmla="*/ 252 h 394"/>
                  <a:gd name="T10" fmla="*/ 0 w 407"/>
                  <a:gd name="T11" fmla="*/ 255 h 394"/>
                  <a:gd name="T12" fmla="*/ 4 w 407"/>
                  <a:gd name="T13" fmla="*/ 260 h 394"/>
                  <a:gd name="T14" fmla="*/ 7 w 407"/>
                  <a:gd name="T15" fmla="*/ 262 h 394"/>
                  <a:gd name="T16" fmla="*/ 12 w 407"/>
                  <a:gd name="T17" fmla="*/ 264 h 394"/>
                  <a:gd name="T18" fmla="*/ 193 w 407"/>
                  <a:gd name="T19" fmla="*/ 264 h 394"/>
                  <a:gd name="T20" fmla="*/ 198 w 407"/>
                  <a:gd name="T21" fmla="*/ 264 h 394"/>
                  <a:gd name="T22" fmla="*/ 314 w 407"/>
                  <a:gd name="T23" fmla="*/ 391 h 394"/>
                  <a:gd name="T24" fmla="*/ 319 w 407"/>
                  <a:gd name="T25" fmla="*/ 394 h 394"/>
                  <a:gd name="T26" fmla="*/ 324 w 407"/>
                  <a:gd name="T27" fmla="*/ 394 h 394"/>
                  <a:gd name="T28" fmla="*/ 325 w 407"/>
                  <a:gd name="T29" fmla="*/ 394 h 394"/>
                  <a:gd name="T30" fmla="*/ 327 w 407"/>
                  <a:gd name="T31" fmla="*/ 394 h 394"/>
                  <a:gd name="T32" fmla="*/ 331 w 407"/>
                  <a:gd name="T33" fmla="*/ 392 h 394"/>
                  <a:gd name="T34" fmla="*/ 333 w 407"/>
                  <a:gd name="T35" fmla="*/ 390 h 394"/>
                  <a:gd name="T36" fmla="*/ 334 w 407"/>
                  <a:gd name="T37" fmla="*/ 386 h 394"/>
                  <a:gd name="T38" fmla="*/ 336 w 407"/>
                  <a:gd name="T39" fmla="*/ 383 h 394"/>
                  <a:gd name="T40" fmla="*/ 336 w 407"/>
                  <a:gd name="T41" fmla="*/ 276 h 394"/>
                  <a:gd name="T42" fmla="*/ 336 w 407"/>
                  <a:gd name="T43" fmla="*/ 264 h 394"/>
                  <a:gd name="T44" fmla="*/ 347 w 407"/>
                  <a:gd name="T45" fmla="*/ 264 h 394"/>
                  <a:gd name="T46" fmla="*/ 395 w 407"/>
                  <a:gd name="T47" fmla="*/ 264 h 394"/>
                  <a:gd name="T48" fmla="*/ 400 w 407"/>
                  <a:gd name="T49" fmla="*/ 262 h 394"/>
                  <a:gd name="T50" fmla="*/ 403 w 407"/>
                  <a:gd name="T51" fmla="*/ 260 h 394"/>
                  <a:gd name="T52" fmla="*/ 406 w 407"/>
                  <a:gd name="T53" fmla="*/ 257 h 394"/>
                  <a:gd name="T54" fmla="*/ 407 w 407"/>
                  <a:gd name="T55" fmla="*/ 252 h 394"/>
                  <a:gd name="T56" fmla="*/ 407 w 407"/>
                  <a:gd name="T57" fmla="*/ 11 h 394"/>
                  <a:gd name="T58" fmla="*/ 406 w 407"/>
                  <a:gd name="T59" fmla="*/ 7 h 394"/>
                  <a:gd name="T60" fmla="*/ 403 w 407"/>
                  <a:gd name="T61" fmla="*/ 3 h 394"/>
                  <a:gd name="T62" fmla="*/ 400 w 407"/>
                  <a:gd name="T63" fmla="*/ 1 h 394"/>
                  <a:gd name="T64" fmla="*/ 395 w 407"/>
                  <a:gd name="T65" fmla="*/ 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7" h="394">
                    <a:moveTo>
                      <a:pt x="395" y="0"/>
                    </a:moveTo>
                    <a:lnTo>
                      <a:pt x="12" y="0"/>
                    </a:lnTo>
                    <a:lnTo>
                      <a:pt x="0" y="0"/>
                    </a:lnTo>
                    <a:lnTo>
                      <a:pt x="0" y="11"/>
                    </a:lnTo>
                    <a:lnTo>
                      <a:pt x="0" y="252"/>
                    </a:lnTo>
                    <a:lnTo>
                      <a:pt x="0" y="255"/>
                    </a:lnTo>
                    <a:lnTo>
                      <a:pt x="4" y="260"/>
                    </a:lnTo>
                    <a:lnTo>
                      <a:pt x="7" y="262"/>
                    </a:lnTo>
                    <a:lnTo>
                      <a:pt x="12" y="264"/>
                    </a:lnTo>
                    <a:lnTo>
                      <a:pt x="193" y="264"/>
                    </a:lnTo>
                    <a:lnTo>
                      <a:pt x="198" y="264"/>
                    </a:lnTo>
                    <a:lnTo>
                      <a:pt x="314" y="391"/>
                    </a:lnTo>
                    <a:lnTo>
                      <a:pt x="319" y="394"/>
                    </a:lnTo>
                    <a:lnTo>
                      <a:pt x="324" y="394"/>
                    </a:lnTo>
                    <a:lnTo>
                      <a:pt x="325" y="394"/>
                    </a:lnTo>
                    <a:lnTo>
                      <a:pt x="327" y="394"/>
                    </a:lnTo>
                    <a:lnTo>
                      <a:pt x="331" y="392"/>
                    </a:lnTo>
                    <a:lnTo>
                      <a:pt x="333" y="390"/>
                    </a:lnTo>
                    <a:lnTo>
                      <a:pt x="334" y="386"/>
                    </a:lnTo>
                    <a:lnTo>
                      <a:pt x="336" y="383"/>
                    </a:lnTo>
                    <a:lnTo>
                      <a:pt x="336" y="276"/>
                    </a:lnTo>
                    <a:lnTo>
                      <a:pt x="336" y="264"/>
                    </a:lnTo>
                    <a:lnTo>
                      <a:pt x="347" y="264"/>
                    </a:lnTo>
                    <a:lnTo>
                      <a:pt x="395" y="264"/>
                    </a:lnTo>
                    <a:lnTo>
                      <a:pt x="400" y="262"/>
                    </a:lnTo>
                    <a:lnTo>
                      <a:pt x="403" y="260"/>
                    </a:lnTo>
                    <a:lnTo>
                      <a:pt x="406" y="257"/>
                    </a:lnTo>
                    <a:lnTo>
                      <a:pt x="407" y="252"/>
                    </a:lnTo>
                    <a:lnTo>
                      <a:pt x="407" y="11"/>
                    </a:lnTo>
                    <a:lnTo>
                      <a:pt x="406" y="7"/>
                    </a:lnTo>
                    <a:lnTo>
                      <a:pt x="403" y="3"/>
                    </a:lnTo>
                    <a:lnTo>
                      <a:pt x="400" y="1"/>
                    </a:lnTo>
                    <a:lnTo>
                      <a:pt x="39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grpSp>
        <p:sp>
          <p:nvSpPr>
            <p:cNvPr id="39" name="Content Placeholder 2">
              <a:extLst>
                <a:ext uri="{FF2B5EF4-FFF2-40B4-BE49-F238E27FC236}">
                  <a16:creationId xmlns:a16="http://schemas.microsoft.com/office/drawing/2014/main" id="{D7B687C8-9051-4EE9-ABFD-3E8367BC78DB}"/>
                </a:ext>
              </a:extLst>
            </p:cNvPr>
            <p:cNvSpPr txBox="1">
              <a:spLocks/>
            </p:cNvSpPr>
            <p:nvPr/>
          </p:nvSpPr>
          <p:spPr>
            <a:xfrm>
              <a:off x="1756072" y="5425330"/>
              <a:ext cx="2139238" cy="426271"/>
            </a:xfrm>
            <a:prstGeom prst="rect">
              <a:avLst/>
            </a:prstGeom>
          </p:spPr>
          <p:txBody>
            <a:bodyPr wrap="square" lIns="0" tIns="0" rIns="0" bIns="0">
              <a:spAutoFit/>
            </a:bodyPr>
            <a:lstStyle>
              <a:defPPr>
                <a:defRPr lang="id-ID"/>
              </a:defPPr>
              <a:lvl1pPr algn="ctr">
                <a:defRPr sz="1400">
                  <a:solidFill>
                    <a:schemeClr val="accent2"/>
                  </a:solidFill>
                  <a:latin typeface="Century Gothic" panose="020B0502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300"/>
                </a:spcAft>
                <a:buClrTx/>
                <a:buSzTx/>
                <a:buFontTx/>
                <a:buNone/>
                <a:tabLst/>
                <a:defRPr/>
              </a:pPr>
              <a:r>
                <a:rPr lang="en-US" kern="0" dirty="0">
                  <a:solidFill>
                    <a:schemeClr val="tx1"/>
                  </a:solidFill>
                  <a:latin typeface="+mn-lt"/>
                  <a:ea typeface="+mn-ea"/>
                  <a:cs typeface="+mn-cs"/>
                </a:rPr>
                <a:t>Data Exploration and</a:t>
              </a:r>
            </a:p>
            <a:p>
              <a:pPr marL="0" marR="0" lvl="0" indent="0" algn="ctr" defTabSz="914400" rtl="0" eaLnBrk="1" fontAlgn="auto" latinLnBrk="0" hangingPunct="1">
                <a:lnSpc>
                  <a:spcPct val="90000"/>
                </a:lnSpc>
                <a:spcBef>
                  <a:spcPts val="0"/>
                </a:spcBef>
                <a:spcAft>
                  <a:spcPts val="300"/>
                </a:spcAft>
                <a:buClrTx/>
                <a:buSzTx/>
                <a:buFontTx/>
                <a:buNone/>
                <a:tabLst/>
                <a:defRPr/>
              </a:pPr>
              <a:r>
                <a:rPr kumimoji="0" lang="en-US" b="0" i="0" u="none" strike="noStrike" kern="0" cap="none" spc="0" normalizeH="0" baseline="0" noProof="0" dirty="0">
                  <a:ln>
                    <a:noFill/>
                  </a:ln>
                  <a:solidFill>
                    <a:schemeClr val="tx1"/>
                  </a:solidFill>
                  <a:effectLst/>
                  <a:uLnTx/>
                  <a:uFillTx/>
                  <a:latin typeface="+mn-lt"/>
                </a:rPr>
                <a:t>Statistical Analysis</a:t>
              </a:r>
              <a:endParaRPr kumimoji="0" lang="en-US" b="0" i="0" u="none" strike="noStrike" kern="1200" cap="none" spc="0" normalizeH="0" baseline="0" noProof="0" dirty="0">
                <a:ln>
                  <a:noFill/>
                </a:ln>
                <a:solidFill>
                  <a:schemeClr val="tx1"/>
                </a:solidFill>
                <a:effectLst/>
                <a:uLnTx/>
                <a:uFillTx/>
                <a:latin typeface="+mn-lt"/>
                <a:ea typeface="+mn-ea"/>
                <a:cs typeface="+mn-cs"/>
              </a:endParaRPr>
            </a:p>
          </p:txBody>
        </p:sp>
        <p:grpSp>
          <p:nvGrpSpPr>
            <p:cNvPr id="50" name="Group 49">
              <a:extLst>
                <a:ext uri="{FF2B5EF4-FFF2-40B4-BE49-F238E27FC236}">
                  <a16:creationId xmlns:a16="http://schemas.microsoft.com/office/drawing/2014/main" id="{6D83AD8B-8993-4DD3-B718-75FD73B9460A}"/>
                </a:ext>
              </a:extLst>
            </p:cNvPr>
            <p:cNvGrpSpPr/>
            <p:nvPr/>
          </p:nvGrpSpPr>
          <p:grpSpPr>
            <a:xfrm>
              <a:off x="2636054" y="4854575"/>
              <a:ext cx="379272" cy="377176"/>
              <a:chOff x="4900613" y="3937000"/>
              <a:chExt cx="287338" cy="285750"/>
            </a:xfrm>
            <a:solidFill>
              <a:schemeClr val="accent1"/>
            </a:solidFill>
          </p:grpSpPr>
          <p:sp>
            <p:nvSpPr>
              <p:cNvPr id="51" name="Freeform 4743">
                <a:extLst>
                  <a:ext uri="{FF2B5EF4-FFF2-40B4-BE49-F238E27FC236}">
                    <a16:creationId xmlns:a16="http://schemas.microsoft.com/office/drawing/2014/main" id="{0C10FC2C-8850-4AED-893D-75FCAE559217}"/>
                  </a:ext>
                </a:extLst>
              </p:cNvPr>
              <p:cNvSpPr>
                <a:spLocks/>
              </p:cNvSpPr>
              <p:nvPr/>
            </p:nvSpPr>
            <p:spPr bwMode="auto">
              <a:xfrm>
                <a:off x="4900613" y="3937000"/>
                <a:ext cx="133350" cy="38100"/>
              </a:xfrm>
              <a:custGeom>
                <a:avLst/>
                <a:gdLst>
                  <a:gd name="T0" fmla="*/ 346 w 421"/>
                  <a:gd name="T1" fmla="*/ 0 h 120"/>
                  <a:gd name="T2" fmla="*/ 76 w 421"/>
                  <a:gd name="T3" fmla="*/ 0 h 120"/>
                  <a:gd name="T4" fmla="*/ 68 w 421"/>
                  <a:gd name="T5" fmla="*/ 1 h 120"/>
                  <a:gd name="T6" fmla="*/ 61 w 421"/>
                  <a:gd name="T7" fmla="*/ 2 h 120"/>
                  <a:gd name="T8" fmla="*/ 53 w 421"/>
                  <a:gd name="T9" fmla="*/ 3 h 120"/>
                  <a:gd name="T10" fmla="*/ 46 w 421"/>
                  <a:gd name="T11" fmla="*/ 5 h 120"/>
                  <a:gd name="T12" fmla="*/ 40 w 421"/>
                  <a:gd name="T13" fmla="*/ 9 h 120"/>
                  <a:gd name="T14" fmla="*/ 33 w 421"/>
                  <a:gd name="T15" fmla="*/ 12 h 120"/>
                  <a:gd name="T16" fmla="*/ 27 w 421"/>
                  <a:gd name="T17" fmla="*/ 17 h 120"/>
                  <a:gd name="T18" fmla="*/ 22 w 421"/>
                  <a:gd name="T19" fmla="*/ 22 h 120"/>
                  <a:gd name="T20" fmla="*/ 18 w 421"/>
                  <a:gd name="T21" fmla="*/ 27 h 120"/>
                  <a:gd name="T22" fmla="*/ 13 w 421"/>
                  <a:gd name="T23" fmla="*/ 33 h 120"/>
                  <a:gd name="T24" fmla="*/ 10 w 421"/>
                  <a:gd name="T25" fmla="*/ 39 h 120"/>
                  <a:gd name="T26" fmla="*/ 6 w 421"/>
                  <a:gd name="T27" fmla="*/ 46 h 120"/>
                  <a:gd name="T28" fmla="*/ 4 w 421"/>
                  <a:gd name="T29" fmla="*/ 53 h 120"/>
                  <a:gd name="T30" fmla="*/ 2 w 421"/>
                  <a:gd name="T31" fmla="*/ 60 h 120"/>
                  <a:gd name="T32" fmla="*/ 0 w 421"/>
                  <a:gd name="T33" fmla="*/ 67 h 120"/>
                  <a:gd name="T34" fmla="*/ 0 w 421"/>
                  <a:gd name="T35" fmla="*/ 75 h 120"/>
                  <a:gd name="T36" fmla="*/ 0 w 421"/>
                  <a:gd name="T37" fmla="*/ 120 h 120"/>
                  <a:gd name="T38" fmla="*/ 421 w 421"/>
                  <a:gd name="T39" fmla="*/ 120 h 120"/>
                  <a:gd name="T40" fmla="*/ 421 w 421"/>
                  <a:gd name="T41" fmla="*/ 75 h 120"/>
                  <a:gd name="T42" fmla="*/ 421 w 421"/>
                  <a:gd name="T43" fmla="*/ 67 h 120"/>
                  <a:gd name="T44" fmla="*/ 420 w 421"/>
                  <a:gd name="T45" fmla="*/ 60 h 120"/>
                  <a:gd name="T46" fmla="*/ 417 w 421"/>
                  <a:gd name="T47" fmla="*/ 53 h 120"/>
                  <a:gd name="T48" fmla="*/ 415 w 421"/>
                  <a:gd name="T49" fmla="*/ 46 h 120"/>
                  <a:gd name="T50" fmla="*/ 412 w 421"/>
                  <a:gd name="T51" fmla="*/ 39 h 120"/>
                  <a:gd name="T52" fmla="*/ 408 w 421"/>
                  <a:gd name="T53" fmla="*/ 33 h 120"/>
                  <a:gd name="T54" fmla="*/ 403 w 421"/>
                  <a:gd name="T55" fmla="*/ 27 h 120"/>
                  <a:gd name="T56" fmla="*/ 399 w 421"/>
                  <a:gd name="T57" fmla="*/ 22 h 120"/>
                  <a:gd name="T58" fmla="*/ 393 w 421"/>
                  <a:gd name="T59" fmla="*/ 17 h 120"/>
                  <a:gd name="T60" fmla="*/ 387 w 421"/>
                  <a:gd name="T61" fmla="*/ 12 h 120"/>
                  <a:gd name="T62" fmla="*/ 381 w 421"/>
                  <a:gd name="T63" fmla="*/ 9 h 120"/>
                  <a:gd name="T64" fmla="*/ 375 w 421"/>
                  <a:gd name="T65" fmla="*/ 5 h 120"/>
                  <a:gd name="T66" fmla="*/ 368 w 421"/>
                  <a:gd name="T67" fmla="*/ 3 h 120"/>
                  <a:gd name="T68" fmla="*/ 361 w 421"/>
                  <a:gd name="T69" fmla="*/ 2 h 120"/>
                  <a:gd name="T70" fmla="*/ 354 w 421"/>
                  <a:gd name="T71" fmla="*/ 1 h 120"/>
                  <a:gd name="T72" fmla="*/ 346 w 421"/>
                  <a:gd name="T73" fmla="*/ 0 h 120"/>
                  <a:gd name="T74" fmla="*/ 346 w 421"/>
                  <a:gd name="T75"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1" h="120">
                    <a:moveTo>
                      <a:pt x="346" y="0"/>
                    </a:moveTo>
                    <a:lnTo>
                      <a:pt x="76" y="0"/>
                    </a:lnTo>
                    <a:lnTo>
                      <a:pt x="68" y="1"/>
                    </a:lnTo>
                    <a:lnTo>
                      <a:pt x="61" y="2"/>
                    </a:lnTo>
                    <a:lnTo>
                      <a:pt x="53" y="3"/>
                    </a:lnTo>
                    <a:lnTo>
                      <a:pt x="46" y="5"/>
                    </a:lnTo>
                    <a:lnTo>
                      <a:pt x="40" y="9"/>
                    </a:lnTo>
                    <a:lnTo>
                      <a:pt x="33" y="12"/>
                    </a:lnTo>
                    <a:lnTo>
                      <a:pt x="27" y="17"/>
                    </a:lnTo>
                    <a:lnTo>
                      <a:pt x="22" y="22"/>
                    </a:lnTo>
                    <a:lnTo>
                      <a:pt x="18" y="27"/>
                    </a:lnTo>
                    <a:lnTo>
                      <a:pt x="13" y="33"/>
                    </a:lnTo>
                    <a:lnTo>
                      <a:pt x="10" y="39"/>
                    </a:lnTo>
                    <a:lnTo>
                      <a:pt x="6" y="46"/>
                    </a:lnTo>
                    <a:lnTo>
                      <a:pt x="4" y="53"/>
                    </a:lnTo>
                    <a:lnTo>
                      <a:pt x="2" y="60"/>
                    </a:lnTo>
                    <a:lnTo>
                      <a:pt x="0" y="67"/>
                    </a:lnTo>
                    <a:lnTo>
                      <a:pt x="0" y="75"/>
                    </a:lnTo>
                    <a:lnTo>
                      <a:pt x="0" y="120"/>
                    </a:lnTo>
                    <a:lnTo>
                      <a:pt x="421" y="120"/>
                    </a:lnTo>
                    <a:lnTo>
                      <a:pt x="421" y="75"/>
                    </a:lnTo>
                    <a:lnTo>
                      <a:pt x="421" y="67"/>
                    </a:lnTo>
                    <a:lnTo>
                      <a:pt x="420" y="60"/>
                    </a:lnTo>
                    <a:lnTo>
                      <a:pt x="417" y="53"/>
                    </a:lnTo>
                    <a:lnTo>
                      <a:pt x="415" y="46"/>
                    </a:lnTo>
                    <a:lnTo>
                      <a:pt x="412" y="39"/>
                    </a:lnTo>
                    <a:lnTo>
                      <a:pt x="408" y="33"/>
                    </a:lnTo>
                    <a:lnTo>
                      <a:pt x="403" y="27"/>
                    </a:lnTo>
                    <a:lnTo>
                      <a:pt x="399" y="22"/>
                    </a:lnTo>
                    <a:lnTo>
                      <a:pt x="393" y="17"/>
                    </a:lnTo>
                    <a:lnTo>
                      <a:pt x="387" y="12"/>
                    </a:lnTo>
                    <a:lnTo>
                      <a:pt x="381" y="9"/>
                    </a:lnTo>
                    <a:lnTo>
                      <a:pt x="375" y="5"/>
                    </a:lnTo>
                    <a:lnTo>
                      <a:pt x="368" y="3"/>
                    </a:lnTo>
                    <a:lnTo>
                      <a:pt x="361" y="2"/>
                    </a:lnTo>
                    <a:lnTo>
                      <a:pt x="354" y="1"/>
                    </a:lnTo>
                    <a:lnTo>
                      <a:pt x="346" y="0"/>
                    </a:lnTo>
                    <a:lnTo>
                      <a:pt x="3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52" name="Freeform 4744">
                <a:extLst>
                  <a:ext uri="{FF2B5EF4-FFF2-40B4-BE49-F238E27FC236}">
                    <a16:creationId xmlns:a16="http://schemas.microsoft.com/office/drawing/2014/main" id="{2943447E-9503-4211-9710-41280EBF74B3}"/>
                  </a:ext>
                </a:extLst>
              </p:cNvPr>
              <p:cNvSpPr>
                <a:spLocks/>
              </p:cNvSpPr>
              <p:nvPr/>
            </p:nvSpPr>
            <p:spPr bwMode="auto">
              <a:xfrm>
                <a:off x="4900613" y="3984625"/>
                <a:ext cx="133350" cy="85725"/>
              </a:xfrm>
              <a:custGeom>
                <a:avLst/>
                <a:gdLst>
                  <a:gd name="T0" fmla="*/ 0 w 421"/>
                  <a:gd name="T1" fmla="*/ 196 h 270"/>
                  <a:gd name="T2" fmla="*/ 0 w 421"/>
                  <a:gd name="T3" fmla="*/ 203 h 270"/>
                  <a:gd name="T4" fmla="*/ 2 w 421"/>
                  <a:gd name="T5" fmla="*/ 211 h 270"/>
                  <a:gd name="T6" fmla="*/ 4 w 421"/>
                  <a:gd name="T7" fmla="*/ 218 h 270"/>
                  <a:gd name="T8" fmla="*/ 6 w 421"/>
                  <a:gd name="T9" fmla="*/ 225 h 270"/>
                  <a:gd name="T10" fmla="*/ 10 w 421"/>
                  <a:gd name="T11" fmla="*/ 231 h 270"/>
                  <a:gd name="T12" fmla="*/ 13 w 421"/>
                  <a:gd name="T13" fmla="*/ 238 h 270"/>
                  <a:gd name="T14" fmla="*/ 18 w 421"/>
                  <a:gd name="T15" fmla="*/ 243 h 270"/>
                  <a:gd name="T16" fmla="*/ 22 w 421"/>
                  <a:gd name="T17" fmla="*/ 248 h 270"/>
                  <a:gd name="T18" fmla="*/ 27 w 421"/>
                  <a:gd name="T19" fmla="*/ 254 h 270"/>
                  <a:gd name="T20" fmla="*/ 33 w 421"/>
                  <a:gd name="T21" fmla="*/ 257 h 270"/>
                  <a:gd name="T22" fmla="*/ 40 w 421"/>
                  <a:gd name="T23" fmla="*/ 262 h 270"/>
                  <a:gd name="T24" fmla="*/ 46 w 421"/>
                  <a:gd name="T25" fmla="*/ 264 h 270"/>
                  <a:gd name="T26" fmla="*/ 53 w 421"/>
                  <a:gd name="T27" fmla="*/ 267 h 270"/>
                  <a:gd name="T28" fmla="*/ 61 w 421"/>
                  <a:gd name="T29" fmla="*/ 269 h 270"/>
                  <a:gd name="T30" fmla="*/ 68 w 421"/>
                  <a:gd name="T31" fmla="*/ 270 h 270"/>
                  <a:gd name="T32" fmla="*/ 76 w 421"/>
                  <a:gd name="T33" fmla="*/ 270 h 270"/>
                  <a:gd name="T34" fmla="*/ 346 w 421"/>
                  <a:gd name="T35" fmla="*/ 270 h 270"/>
                  <a:gd name="T36" fmla="*/ 354 w 421"/>
                  <a:gd name="T37" fmla="*/ 270 h 270"/>
                  <a:gd name="T38" fmla="*/ 361 w 421"/>
                  <a:gd name="T39" fmla="*/ 269 h 270"/>
                  <a:gd name="T40" fmla="*/ 368 w 421"/>
                  <a:gd name="T41" fmla="*/ 267 h 270"/>
                  <a:gd name="T42" fmla="*/ 375 w 421"/>
                  <a:gd name="T43" fmla="*/ 264 h 270"/>
                  <a:gd name="T44" fmla="*/ 381 w 421"/>
                  <a:gd name="T45" fmla="*/ 261 h 270"/>
                  <a:gd name="T46" fmla="*/ 387 w 421"/>
                  <a:gd name="T47" fmla="*/ 257 h 270"/>
                  <a:gd name="T48" fmla="*/ 393 w 421"/>
                  <a:gd name="T49" fmla="*/ 253 h 270"/>
                  <a:gd name="T50" fmla="*/ 399 w 421"/>
                  <a:gd name="T51" fmla="*/ 248 h 270"/>
                  <a:gd name="T52" fmla="*/ 403 w 421"/>
                  <a:gd name="T53" fmla="*/ 243 h 270"/>
                  <a:gd name="T54" fmla="*/ 408 w 421"/>
                  <a:gd name="T55" fmla="*/ 238 h 270"/>
                  <a:gd name="T56" fmla="*/ 412 w 421"/>
                  <a:gd name="T57" fmla="*/ 231 h 270"/>
                  <a:gd name="T58" fmla="*/ 415 w 421"/>
                  <a:gd name="T59" fmla="*/ 225 h 270"/>
                  <a:gd name="T60" fmla="*/ 417 w 421"/>
                  <a:gd name="T61" fmla="*/ 218 h 270"/>
                  <a:gd name="T62" fmla="*/ 420 w 421"/>
                  <a:gd name="T63" fmla="*/ 211 h 270"/>
                  <a:gd name="T64" fmla="*/ 421 w 421"/>
                  <a:gd name="T65" fmla="*/ 203 h 270"/>
                  <a:gd name="T66" fmla="*/ 421 w 421"/>
                  <a:gd name="T67" fmla="*/ 196 h 270"/>
                  <a:gd name="T68" fmla="*/ 421 w 421"/>
                  <a:gd name="T69" fmla="*/ 0 h 270"/>
                  <a:gd name="T70" fmla="*/ 0 w 421"/>
                  <a:gd name="T71" fmla="*/ 0 h 270"/>
                  <a:gd name="T72" fmla="*/ 0 w 421"/>
                  <a:gd name="T73" fmla="*/ 196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1" h="270">
                    <a:moveTo>
                      <a:pt x="0" y="196"/>
                    </a:moveTo>
                    <a:lnTo>
                      <a:pt x="0" y="203"/>
                    </a:lnTo>
                    <a:lnTo>
                      <a:pt x="2" y="211"/>
                    </a:lnTo>
                    <a:lnTo>
                      <a:pt x="4" y="218"/>
                    </a:lnTo>
                    <a:lnTo>
                      <a:pt x="6" y="225"/>
                    </a:lnTo>
                    <a:lnTo>
                      <a:pt x="10" y="231"/>
                    </a:lnTo>
                    <a:lnTo>
                      <a:pt x="13" y="238"/>
                    </a:lnTo>
                    <a:lnTo>
                      <a:pt x="18" y="243"/>
                    </a:lnTo>
                    <a:lnTo>
                      <a:pt x="22" y="248"/>
                    </a:lnTo>
                    <a:lnTo>
                      <a:pt x="27" y="254"/>
                    </a:lnTo>
                    <a:lnTo>
                      <a:pt x="33" y="257"/>
                    </a:lnTo>
                    <a:lnTo>
                      <a:pt x="40" y="262"/>
                    </a:lnTo>
                    <a:lnTo>
                      <a:pt x="46" y="264"/>
                    </a:lnTo>
                    <a:lnTo>
                      <a:pt x="53" y="267"/>
                    </a:lnTo>
                    <a:lnTo>
                      <a:pt x="61" y="269"/>
                    </a:lnTo>
                    <a:lnTo>
                      <a:pt x="68" y="270"/>
                    </a:lnTo>
                    <a:lnTo>
                      <a:pt x="76" y="270"/>
                    </a:lnTo>
                    <a:lnTo>
                      <a:pt x="346" y="270"/>
                    </a:lnTo>
                    <a:lnTo>
                      <a:pt x="354" y="270"/>
                    </a:lnTo>
                    <a:lnTo>
                      <a:pt x="361" y="269"/>
                    </a:lnTo>
                    <a:lnTo>
                      <a:pt x="368" y="267"/>
                    </a:lnTo>
                    <a:lnTo>
                      <a:pt x="375" y="264"/>
                    </a:lnTo>
                    <a:lnTo>
                      <a:pt x="381" y="261"/>
                    </a:lnTo>
                    <a:lnTo>
                      <a:pt x="387" y="257"/>
                    </a:lnTo>
                    <a:lnTo>
                      <a:pt x="393" y="253"/>
                    </a:lnTo>
                    <a:lnTo>
                      <a:pt x="399" y="248"/>
                    </a:lnTo>
                    <a:lnTo>
                      <a:pt x="403" y="243"/>
                    </a:lnTo>
                    <a:lnTo>
                      <a:pt x="408" y="238"/>
                    </a:lnTo>
                    <a:lnTo>
                      <a:pt x="412" y="231"/>
                    </a:lnTo>
                    <a:lnTo>
                      <a:pt x="415" y="225"/>
                    </a:lnTo>
                    <a:lnTo>
                      <a:pt x="417" y="218"/>
                    </a:lnTo>
                    <a:lnTo>
                      <a:pt x="420" y="211"/>
                    </a:lnTo>
                    <a:lnTo>
                      <a:pt x="421" y="203"/>
                    </a:lnTo>
                    <a:lnTo>
                      <a:pt x="421" y="196"/>
                    </a:lnTo>
                    <a:lnTo>
                      <a:pt x="421" y="0"/>
                    </a:lnTo>
                    <a:lnTo>
                      <a:pt x="0" y="0"/>
                    </a:lnTo>
                    <a:lnTo>
                      <a:pt x="0" y="1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53" name="Freeform 4745">
                <a:extLst>
                  <a:ext uri="{FF2B5EF4-FFF2-40B4-BE49-F238E27FC236}">
                    <a16:creationId xmlns:a16="http://schemas.microsoft.com/office/drawing/2014/main" id="{458C1C97-B5D5-41A5-A642-F670D9629E9D}"/>
                  </a:ext>
                </a:extLst>
              </p:cNvPr>
              <p:cNvSpPr>
                <a:spLocks/>
              </p:cNvSpPr>
              <p:nvPr/>
            </p:nvSpPr>
            <p:spPr bwMode="auto">
              <a:xfrm>
                <a:off x="5053013" y="3937000"/>
                <a:ext cx="134938" cy="38100"/>
              </a:xfrm>
              <a:custGeom>
                <a:avLst/>
                <a:gdLst>
                  <a:gd name="T0" fmla="*/ 345 w 421"/>
                  <a:gd name="T1" fmla="*/ 0 h 120"/>
                  <a:gd name="T2" fmla="*/ 75 w 421"/>
                  <a:gd name="T3" fmla="*/ 0 h 120"/>
                  <a:gd name="T4" fmla="*/ 67 w 421"/>
                  <a:gd name="T5" fmla="*/ 1 h 120"/>
                  <a:gd name="T6" fmla="*/ 60 w 421"/>
                  <a:gd name="T7" fmla="*/ 2 h 120"/>
                  <a:gd name="T8" fmla="*/ 52 w 421"/>
                  <a:gd name="T9" fmla="*/ 3 h 120"/>
                  <a:gd name="T10" fmla="*/ 45 w 421"/>
                  <a:gd name="T11" fmla="*/ 5 h 120"/>
                  <a:gd name="T12" fmla="*/ 39 w 421"/>
                  <a:gd name="T13" fmla="*/ 9 h 120"/>
                  <a:gd name="T14" fmla="*/ 33 w 421"/>
                  <a:gd name="T15" fmla="*/ 12 h 120"/>
                  <a:gd name="T16" fmla="*/ 27 w 421"/>
                  <a:gd name="T17" fmla="*/ 17 h 120"/>
                  <a:gd name="T18" fmla="*/ 22 w 421"/>
                  <a:gd name="T19" fmla="*/ 22 h 120"/>
                  <a:gd name="T20" fmla="*/ 17 w 421"/>
                  <a:gd name="T21" fmla="*/ 27 h 120"/>
                  <a:gd name="T22" fmla="*/ 13 w 421"/>
                  <a:gd name="T23" fmla="*/ 33 h 120"/>
                  <a:gd name="T24" fmla="*/ 9 w 421"/>
                  <a:gd name="T25" fmla="*/ 39 h 120"/>
                  <a:gd name="T26" fmla="*/ 6 w 421"/>
                  <a:gd name="T27" fmla="*/ 46 h 120"/>
                  <a:gd name="T28" fmla="*/ 4 w 421"/>
                  <a:gd name="T29" fmla="*/ 53 h 120"/>
                  <a:gd name="T30" fmla="*/ 1 w 421"/>
                  <a:gd name="T31" fmla="*/ 60 h 120"/>
                  <a:gd name="T32" fmla="*/ 0 w 421"/>
                  <a:gd name="T33" fmla="*/ 67 h 120"/>
                  <a:gd name="T34" fmla="*/ 0 w 421"/>
                  <a:gd name="T35" fmla="*/ 75 h 120"/>
                  <a:gd name="T36" fmla="*/ 0 w 421"/>
                  <a:gd name="T37" fmla="*/ 120 h 120"/>
                  <a:gd name="T38" fmla="*/ 421 w 421"/>
                  <a:gd name="T39" fmla="*/ 120 h 120"/>
                  <a:gd name="T40" fmla="*/ 421 w 421"/>
                  <a:gd name="T41" fmla="*/ 75 h 120"/>
                  <a:gd name="T42" fmla="*/ 421 w 421"/>
                  <a:gd name="T43" fmla="*/ 67 h 120"/>
                  <a:gd name="T44" fmla="*/ 419 w 421"/>
                  <a:gd name="T45" fmla="*/ 60 h 120"/>
                  <a:gd name="T46" fmla="*/ 417 w 421"/>
                  <a:gd name="T47" fmla="*/ 53 h 120"/>
                  <a:gd name="T48" fmla="*/ 415 w 421"/>
                  <a:gd name="T49" fmla="*/ 46 h 120"/>
                  <a:gd name="T50" fmla="*/ 411 w 421"/>
                  <a:gd name="T51" fmla="*/ 39 h 120"/>
                  <a:gd name="T52" fmla="*/ 408 w 421"/>
                  <a:gd name="T53" fmla="*/ 33 h 120"/>
                  <a:gd name="T54" fmla="*/ 403 w 421"/>
                  <a:gd name="T55" fmla="*/ 27 h 120"/>
                  <a:gd name="T56" fmla="*/ 399 w 421"/>
                  <a:gd name="T57" fmla="*/ 22 h 120"/>
                  <a:gd name="T58" fmla="*/ 393 w 421"/>
                  <a:gd name="T59" fmla="*/ 17 h 120"/>
                  <a:gd name="T60" fmla="*/ 387 w 421"/>
                  <a:gd name="T61" fmla="*/ 12 h 120"/>
                  <a:gd name="T62" fmla="*/ 381 w 421"/>
                  <a:gd name="T63" fmla="*/ 9 h 120"/>
                  <a:gd name="T64" fmla="*/ 374 w 421"/>
                  <a:gd name="T65" fmla="*/ 5 h 120"/>
                  <a:gd name="T66" fmla="*/ 367 w 421"/>
                  <a:gd name="T67" fmla="*/ 3 h 120"/>
                  <a:gd name="T68" fmla="*/ 360 w 421"/>
                  <a:gd name="T69" fmla="*/ 2 h 120"/>
                  <a:gd name="T70" fmla="*/ 353 w 421"/>
                  <a:gd name="T71" fmla="*/ 1 h 120"/>
                  <a:gd name="T72" fmla="*/ 345 w 421"/>
                  <a:gd name="T73" fmla="*/ 0 h 120"/>
                  <a:gd name="T74" fmla="*/ 345 w 421"/>
                  <a:gd name="T75"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1" h="120">
                    <a:moveTo>
                      <a:pt x="345" y="0"/>
                    </a:moveTo>
                    <a:lnTo>
                      <a:pt x="75" y="0"/>
                    </a:lnTo>
                    <a:lnTo>
                      <a:pt x="67" y="1"/>
                    </a:lnTo>
                    <a:lnTo>
                      <a:pt x="60" y="2"/>
                    </a:lnTo>
                    <a:lnTo>
                      <a:pt x="52" y="3"/>
                    </a:lnTo>
                    <a:lnTo>
                      <a:pt x="45" y="5"/>
                    </a:lnTo>
                    <a:lnTo>
                      <a:pt x="39" y="9"/>
                    </a:lnTo>
                    <a:lnTo>
                      <a:pt x="33" y="12"/>
                    </a:lnTo>
                    <a:lnTo>
                      <a:pt x="27" y="17"/>
                    </a:lnTo>
                    <a:lnTo>
                      <a:pt x="22" y="22"/>
                    </a:lnTo>
                    <a:lnTo>
                      <a:pt x="17" y="27"/>
                    </a:lnTo>
                    <a:lnTo>
                      <a:pt x="13" y="33"/>
                    </a:lnTo>
                    <a:lnTo>
                      <a:pt x="9" y="39"/>
                    </a:lnTo>
                    <a:lnTo>
                      <a:pt x="6" y="46"/>
                    </a:lnTo>
                    <a:lnTo>
                      <a:pt x="4" y="53"/>
                    </a:lnTo>
                    <a:lnTo>
                      <a:pt x="1" y="60"/>
                    </a:lnTo>
                    <a:lnTo>
                      <a:pt x="0" y="67"/>
                    </a:lnTo>
                    <a:lnTo>
                      <a:pt x="0" y="75"/>
                    </a:lnTo>
                    <a:lnTo>
                      <a:pt x="0" y="120"/>
                    </a:lnTo>
                    <a:lnTo>
                      <a:pt x="421" y="120"/>
                    </a:lnTo>
                    <a:lnTo>
                      <a:pt x="421" y="75"/>
                    </a:lnTo>
                    <a:lnTo>
                      <a:pt x="421" y="67"/>
                    </a:lnTo>
                    <a:lnTo>
                      <a:pt x="419" y="60"/>
                    </a:lnTo>
                    <a:lnTo>
                      <a:pt x="417" y="53"/>
                    </a:lnTo>
                    <a:lnTo>
                      <a:pt x="415" y="46"/>
                    </a:lnTo>
                    <a:lnTo>
                      <a:pt x="411" y="39"/>
                    </a:lnTo>
                    <a:lnTo>
                      <a:pt x="408" y="33"/>
                    </a:lnTo>
                    <a:lnTo>
                      <a:pt x="403" y="27"/>
                    </a:lnTo>
                    <a:lnTo>
                      <a:pt x="399" y="22"/>
                    </a:lnTo>
                    <a:lnTo>
                      <a:pt x="393" y="17"/>
                    </a:lnTo>
                    <a:lnTo>
                      <a:pt x="387" y="12"/>
                    </a:lnTo>
                    <a:lnTo>
                      <a:pt x="381" y="9"/>
                    </a:lnTo>
                    <a:lnTo>
                      <a:pt x="374" y="5"/>
                    </a:lnTo>
                    <a:lnTo>
                      <a:pt x="367" y="3"/>
                    </a:lnTo>
                    <a:lnTo>
                      <a:pt x="360" y="2"/>
                    </a:lnTo>
                    <a:lnTo>
                      <a:pt x="353" y="1"/>
                    </a:lnTo>
                    <a:lnTo>
                      <a:pt x="345" y="0"/>
                    </a:lnTo>
                    <a:lnTo>
                      <a:pt x="3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54" name="Freeform 4746">
                <a:extLst>
                  <a:ext uri="{FF2B5EF4-FFF2-40B4-BE49-F238E27FC236}">
                    <a16:creationId xmlns:a16="http://schemas.microsoft.com/office/drawing/2014/main" id="{171D8EBE-E9A2-4459-9C65-282A30804308}"/>
                  </a:ext>
                </a:extLst>
              </p:cNvPr>
              <p:cNvSpPr>
                <a:spLocks/>
              </p:cNvSpPr>
              <p:nvPr/>
            </p:nvSpPr>
            <p:spPr bwMode="auto">
              <a:xfrm>
                <a:off x="5053013" y="3984625"/>
                <a:ext cx="134938" cy="85725"/>
              </a:xfrm>
              <a:custGeom>
                <a:avLst/>
                <a:gdLst>
                  <a:gd name="T0" fmla="*/ 0 w 421"/>
                  <a:gd name="T1" fmla="*/ 196 h 270"/>
                  <a:gd name="T2" fmla="*/ 0 w 421"/>
                  <a:gd name="T3" fmla="*/ 203 h 270"/>
                  <a:gd name="T4" fmla="*/ 1 w 421"/>
                  <a:gd name="T5" fmla="*/ 211 h 270"/>
                  <a:gd name="T6" fmla="*/ 4 w 421"/>
                  <a:gd name="T7" fmla="*/ 218 h 270"/>
                  <a:gd name="T8" fmla="*/ 6 w 421"/>
                  <a:gd name="T9" fmla="*/ 225 h 270"/>
                  <a:gd name="T10" fmla="*/ 9 w 421"/>
                  <a:gd name="T11" fmla="*/ 231 h 270"/>
                  <a:gd name="T12" fmla="*/ 13 w 421"/>
                  <a:gd name="T13" fmla="*/ 238 h 270"/>
                  <a:gd name="T14" fmla="*/ 17 w 421"/>
                  <a:gd name="T15" fmla="*/ 243 h 270"/>
                  <a:gd name="T16" fmla="*/ 22 w 421"/>
                  <a:gd name="T17" fmla="*/ 248 h 270"/>
                  <a:gd name="T18" fmla="*/ 27 w 421"/>
                  <a:gd name="T19" fmla="*/ 254 h 270"/>
                  <a:gd name="T20" fmla="*/ 33 w 421"/>
                  <a:gd name="T21" fmla="*/ 257 h 270"/>
                  <a:gd name="T22" fmla="*/ 39 w 421"/>
                  <a:gd name="T23" fmla="*/ 262 h 270"/>
                  <a:gd name="T24" fmla="*/ 45 w 421"/>
                  <a:gd name="T25" fmla="*/ 264 h 270"/>
                  <a:gd name="T26" fmla="*/ 52 w 421"/>
                  <a:gd name="T27" fmla="*/ 267 h 270"/>
                  <a:gd name="T28" fmla="*/ 60 w 421"/>
                  <a:gd name="T29" fmla="*/ 269 h 270"/>
                  <a:gd name="T30" fmla="*/ 67 w 421"/>
                  <a:gd name="T31" fmla="*/ 270 h 270"/>
                  <a:gd name="T32" fmla="*/ 75 w 421"/>
                  <a:gd name="T33" fmla="*/ 270 h 270"/>
                  <a:gd name="T34" fmla="*/ 345 w 421"/>
                  <a:gd name="T35" fmla="*/ 270 h 270"/>
                  <a:gd name="T36" fmla="*/ 353 w 421"/>
                  <a:gd name="T37" fmla="*/ 270 h 270"/>
                  <a:gd name="T38" fmla="*/ 360 w 421"/>
                  <a:gd name="T39" fmla="*/ 269 h 270"/>
                  <a:gd name="T40" fmla="*/ 367 w 421"/>
                  <a:gd name="T41" fmla="*/ 267 h 270"/>
                  <a:gd name="T42" fmla="*/ 374 w 421"/>
                  <a:gd name="T43" fmla="*/ 264 h 270"/>
                  <a:gd name="T44" fmla="*/ 381 w 421"/>
                  <a:gd name="T45" fmla="*/ 261 h 270"/>
                  <a:gd name="T46" fmla="*/ 387 w 421"/>
                  <a:gd name="T47" fmla="*/ 257 h 270"/>
                  <a:gd name="T48" fmla="*/ 393 w 421"/>
                  <a:gd name="T49" fmla="*/ 253 h 270"/>
                  <a:gd name="T50" fmla="*/ 399 w 421"/>
                  <a:gd name="T51" fmla="*/ 248 h 270"/>
                  <a:gd name="T52" fmla="*/ 403 w 421"/>
                  <a:gd name="T53" fmla="*/ 243 h 270"/>
                  <a:gd name="T54" fmla="*/ 408 w 421"/>
                  <a:gd name="T55" fmla="*/ 238 h 270"/>
                  <a:gd name="T56" fmla="*/ 411 w 421"/>
                  <a:gd name="T57" fmla="*/ 231 h 270"/>
                  <a:gd name="T58" fmla="*/ 415 w 421"/>
                  <a:gd name="T59" fmla="*/ 225 h 270"/>
                  <a:gd name="T60" fmla="*/ 417 w 421"/>
                  <a:gd name="T61" fmla="*/ 218 h 270"/>
                  <a:gd name="T62" fmla="*/ 419 w 421"/>
                  <a:gd name="T63" fmla="*/ 211 h 270"/>
                  <a:gd name="T64" fmla="*/ 421 w 421"/>
                  <a:gd name="T65" fmla="*/ 203 h 270"/>
                  <a:gd name="T66" fmla="*/ 421 w 421"/>
                  <a:gd name="T67" fmla="*/ 196 h 270"/>
                  <a:gd name="T68" fmla="*/ 421 w 421"/>
                  <a:gd name="T69" fmla="*/ 0 h 270"/>
                  <a:gd name="T70" fmla="*/ 0 w 421"/>
                  <a:gd name="T71" fmla="*/ 0 h 270"/>
                  <a:gd name="T72" fmla="*/ 0 w 421"/>
                  <a:gd name="T73" fmla="*/ 196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1" h="270">
                    <a:moveTo>
                      <a:pt x="0" y="196"/>
                    </a:moveTo>
                    <a:lnTo>
                      <a:pt x="0" y="203"/>
                    </a:lnTo>
                    <a:lnTo>
                      <a:pt x="1" y="211"/>
                    </a:lnTo>
                    <a:lnTo>
                      <a:pt x="4" y="218"/>
                    </a:lnTo>
                    <a:lnTo>
                      <a:pt x="6" y="225"/>
                    </a:lnTo>
                    <a:lnTo>
                      <a:pt x="9" y="231"/>
                    </a:lnTo>
                    <a:lnTo>
                      <a:pt x="13" y="238"/>
                    </a:lnTo>
                    <a:lnTo>
                      <a:pt x="17" y="243"/>
                    </a:lnTo>
                    <a:lnTo>
                      <a:pt x="22" y="248"/>
                    </a:lnTo>
                    <a:lnTo>
                      <a:pt x="27" y="254"/>
                    </a:lnTo>
                    <a:lnTo>
                      <a:pt x="33" y="257"/>
                    </a:lnTo>
                    <a:lnTo>
                      <a:pt x="39" y="262"/>
                    </a:lnTo>
                    <a:lnTo>
                      <a:pt x="45" y="264"/>
                    </a:lnTo>
                    <a:lnTo>
                      <a:pt x="52" y="267"/>
                    </a:lnTo>
                    <a:lnTo>
                      <a:pt x="60" y="269"/>
                    </a:lnTo>
                    <a:lnTo>
                      <a:pt x="67" y="270"/>
                    </a:lnTo>
                    <a:lnTo>
                      <a:pt x="75" y="270"/>
                    </a:lnTo>
                    <a:lnTo>
                      <a:pt x="345" y="270"/>
                    </a:lnTo>
                    <a:lnTo>
                      <a:pt x="353" y="270"/>
                    </a:lnTo>
                    <a:lnTo>
                      <a:pt x="360" y="269"/>
                    </a:lnTo>
                    <a:lnTo>
                      <a:pt x="367" y="267"/>
                    </a:lnTo>
                    <a:lnTo>
                      <a:pt x="374" y="264"/>
                    </a:lnTo>
                    <a:lnTo>
                      <a:pt x="381" y="261"/>
                    </a:lnTo>
                    <a:lnTo>
                      <a:pt x="387" y="257"/>
                    </a:lnTo>
                    <a:lnTo>
                      <a:pt x="393" y="253"/>
                    </a:lnTo>
                    <a:lnTo>
                      <a:pt x="399" y="248"/>
                    </a:lnTo>
                    <a:lnTo>
                      <a:pt x="403" y="243"/>
                    </a:lnTo>
                    <a:lnTo>
                      <a:pt x="408" y="238"/>
                    </a:lnTo>
                    <a:lnTo>
                      <a:pt x="411" y="231"/>
                    </a:lnTo>
                    <a:lnTo>
                      <a:pt x="415" y="225"/>
                    </a:lnTo>
                    <a:lnTo>
                      <a:pt x="417" y="218"/>
                    </a:lnTo>
                    <a:lnTo>
                      <a:pt x="419" y="211"/>
                    </a:lnTo>
                    <a:lnTo>
                      <a:pt x="421" y="203"/>
                    </a:lnTo>
                    <a:lnTo>
                      <a:pt x="421" y="196"/>
                    </a:lnTo>
                    <a:lnTo>
                      <a:pt x="421" y="0"/>
                    </a:lnTo>
                    <a:lnTo>
                      <a:pt x="0" y="0"/>
                    </a:lnTo>
                    <a:lnTo>
                      <a:pt x="0" y="1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55" name="Freeform 4747">
                <a:extLst>
                  <a:ext uri="{FF2B5EF4-FFF2-40B4-BE49-F238E27FC236}">
                    <a16:creationId xmlns:a16="http://schemas.microsoft.com/office/drawing/2014/main" id="{F758515F-16FE-4797-8759-F22F8BD65891}"/>
                  </a:ext>
                </a:extLst>
              </p:cNvPr>
              <p:cNvSpPr>
                <a:spLocks/>
              </p:cNvSpPr>
              <p:nvPr/>
            </p:nvSpPr>
            <p:spPr bwMode="auto">
              <a:xfrm>
                <a:off x="4900613" y="4137025"/>
                <a:ext cx="133350" cy="85725"/>
              </a:xfrm>
              <a:custGeom>
                <a:avLst/>
                <a:gdLst>
                  <a:gd name="T0" fmla="*/ 0 w 421"/>
                  <a:gd name="T1" fmla="*/ 194 h 270"/>
                  <a:gd name="T2" fmla="*/ 0 w 421"/>
                  <a:gd name="T3" fmla="*/ 203 h 270"/>
                  <a:gd name="T4" fmla="*/ 2 w 421"/>
                  <a:gd name="T5" fmla="*/ 209 h 270"/>
                  <a:gd name="T6" fmla="*/ 4 w 421"/>
                  <a:gd name="T7" fmla="*/ 218 h 270"/>
                  <a:gd name="T8" fmla="*/ 6 w 421"/>
                  <a:gd name="T9" fmla="*/ 225 h 270"/>
                  <a:gd name="T10" fmla="*/ 10 w 421"/>
                  <a:gd name="T11" fmla="*/ 230 h 270"/>
                  <a:gd name="T12" fmla="*/ 13 w 421"/>
                  <a:gd name="T13" fmla="*/ 237 h 270"/>
                  <a:gd name="T14" fmla="*/ 18 w 421"/>
                  <a:gd name="T15" fmla="*/ 243 h 270"/>
                  <a:gd name="T16" fmla="*/ 22 w 421"/>
                  <a:gd name="T17" fmla="*/ 248 h 270"/>
                  <a:gd name="T18" fmla="*/ 27 w 421"/>
                  <a:gd name="T19" fmla="*/ 252 h 270"/>
                  <a:gd name="T20" fmla="*/ 33 w 421"/>
                  <a:gd name="T21" fmla="*/ 257 h 270"/>
                  <a:gd name="T22" fmla="*/ 40 w 421"/>
                  <a:gd name="T23" fmla="*/ 262 h 270"/>
                  <a:gd name="T24" fmla="*/ 46 w 421"/>
                  <a:gd name="T25" fmla="*/ 264 h 270"/>
                  <a:gd name="T26" fmla="*/ 53 w 421"/>
                  <a:gd name="T27" fmla="*/ 266 h 270"/>
                  <a:gd name="T28" fmla="*/ 61 w 421"/>
                  <a:gd name="T29" fmla="*/ 269 h 270"/>
                  <a:gd name="T30" fmla="*/ 68 w 421"/>
                  <a:gd name="T31" fmla="*/ 270 h 270"/>
                  <a:gd name="T32" fmla="*/ 76 w 421"/>
                  <a:gd name="T33" fmla="*/ 270 h 270"/>
                  <a:gd name="T34" fmla="*/ 346 w 421"/>
                  <a:gd name="T35" fmla="*/ 270 h 270"/>
                  <a:gd name="T36" fmla="*/ 354 w 421"/>
                  <a:gd name="T37" fmla="*/ 270 h 270"/>
                  <a:gd name="T38" fmla="*/ 361 w 421"/>
                  <a:gd name="T39" fmla="*/ 269 h 270"/>
                  <a:gd name="T40" fmla="*/ 368 w 421"/>
                  <a:gd name="T41" fmla="*/ 266 h 270"/>
                  <a:gd name="T42" fmla="*/ 375 w 421"/>
                  <a:gd name="T43" fmla="*/ 264 h 270"/>
                  <a:gd name="T44" fmla="*/ 381 w 421"/>
                  <a:gd name="T45" fmla="*/ 260 h 270"/>
                  <a:gd name="T46" fmla="*/ 387 w 421"/>
                  <a:gd name="T47" fmla="*/ 257 h 270"/>
                  <a:gd name="T48" fmla="*/ 393 w 421"/>
                  <a:gd name="T49" fmla="*/ 252 h 270"/>
                  <a:gd name="T50" fmla="*/ 399 w 421"/>
                  <a:gd name="T51" fmla="*/ 248 h 270"/>
                  <a:gd name="T52" fmla="*/ 403 w 421"/>
                  <a:gd name="T53" fmla="*/ 243 h 270"/>
                  <a:gd name="T54" fmla="*/ 408 w 421"/>
                  <a:gd name="T55" fmla="*/ 237 h 270"/>
                  <a:gd name="T56" fmla="*/ 412 w 421"/>
                  <a:gd name="T57" fmla="*/ 230 h 270"/>
                  <a:gd name="T58" fmla="*/ 415 w 421"/>
                  <a:gd name="T59" fmla="*/ 225 h 270"/>
                  <a:gd name="T60" fmla="*/ 417 w 421"/>
                  <a:gd name="T61" fmla="*/ 218 h 270"/>
                  <a:gd name="T62" fmla="*/ 420 w 421"/>
                  <a:gd name="T63" fmla="*/ 211 h 270"/>
                  <a:gd name="T64" fmla="*/ 421 w 421"/>
                  <a:gd name="T65" fmla="*/ 203 h 270"/>
                  <a:gd name="T66" fmla="*/ 421 w 421"/>
                  <a:gd name="T67" fmla="*/ 196 h 270"/>
                  <a:gd name="T68" fmla="*/ 421 w 421"/>
                  <a:gd name="T69" fmla="*/ 0 h 270"/>
                  <a:gd name="T70" fmla="*/ 0 w 421"/>
                  <a:gd name="T71" fmla="*/ 0 h 270"/>
                  <a:gd name="T72" fmla="*/ 0 w 421"/>
                  <a:gd name="T73" fmla="*/ 194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1" h="270">
                    <a:moveTo>
                      <a:pt x="0" y="194"/>
                    </a:moveTo>
                    <a:lnTo>
                      <a:pt x="0" y="203"/>
                    </a:lnTo>
                    <a:lnTo>
                      <a:pt x="2" y="209"/>
                    </a:lnTo>
                    <a:lnTo>
                      <a:pt x="4" y="218"/>
                    </a:lnTo>
                    <a:lnTo>
                      <a:pt x="6" y="225"/>
                    </a:lnTo>
                    <a:lnTo>
                      <a:pt x="10" y="230"/>
                    </a:lnTo>
                    <a:lnTo>
                      <a:pt x="13" y="237"/>
                    </a:lnTo>
                    <a:lnTo>
                      <a:pt x="18" y="243"/>
                    </a:lnTo>
                    <a:lnTo>
                      <a:pt x="22" y="248"/>
                    </a:lnTo>
                    <a:lnTo>
                      <a:pt x="27" y="252"/>
                    </a:lnTo>
                    <a:lnTo>
                      <a:pt x="33" y="257"/>
                    </a:lnTo>
                    <a:lnTo>
                      <a:pt x="40" y="262"/>
                    </a:lnTo>
                    <a:lnTo>
                      <a:pt x="46" y="264"/>
                    </a:lnTo>
                    <a:lnTo>
                      <a:pt x="53" y="266"/>
                    </a:lnTo>
                    <a:lnTo>
                      <a:pt x="61" y="269"/>
                    </a:lnTo>
                    <a:lnTo>
                      <a:pt x="68" y="270"/>
                    </a:lnTo>
                    <a:lnTo>
                      <a:pt x="76" y="270"/>
                    </a:lnTo>
                    <a:lnTo>
                      <a:pt x="346" y="270"/>
                    </a:lnTo>
                    <a:lnTo>
                      <a:pt x="354" y="270"/>
                    </a:lnTo>
                    <a:lnTo>
                      <a:pt x="361" y="269"/>
                    </a:lnTo>
                    <a:lnTo>
                      <a:pt x="368" y="266"/>
                    </a:lnTo>
                    <a:lnTo>
                      <a:pt x="375" y="264"/>
                    </a:lnTo>
                    <a:lnTo>
                      <a:pt x="381" y="260"/>
                    </a:lnTo>
                    <a:lnTo>
                      <a:pt x="387" y="257"/>
                    </a:lnTo>
                    <a:lnTo>
                      <a:pt x="393" y="252"/>
                    </a:lnTo>
                    <a:lnTo>
                      <a:pt x="399" y="248"/>
                    </a:lnTo>
                    <a:lnTo>
                      <a:pt x="403" y="243"/>
                    </a:lnTo>
                    <a:lnTo>
                      <a:pt x="408" y="237"/>
                    </a:lnTo>
                    <a:lnTo>
                      <a:pt x="412" y="230"/>
                    </a:lnTo>
                    <a:lnTo>
                      <a:pt x="415" y="225"/>
                    </a:lnTo>
                    <a:lnTo>
                      <a:pt x="417" y="218"/>
                    </a:lnTo>
                    <a:lnTo>
                      <a:pt x="420" y="211"/>
                    </a:lnTo>
                    <a:lnTo>
                      <a:pt x="421" y="203"/>
                    </a:lnTo>
                    <a:lnTo>
                      <a:pt x="421" y="196"/>
                    </a:lnTo>
                    <a:lnTo>
                      <a:pt x="421" y="0"/>
                    </a:lnTo>
                    <a:lnTo>
                      <a:pt x="0" y="0"/>
                    </a:lnTo>
                    <a:lnTo>
                      <a:pt x="0" y="1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56" name="Freeform 4748">
                <a:extLst>
                  <a:ext uri="{FF2B5EF4-FFF2-40B4-BE49-F238E27FC236}">
                    <a16:creationId xmlns:a16="http://schemas.microsoft.com/office/drawing/2014/main" id="{AA9389B3-8264-4B54-B49F-656C9DF21360}"/>
                  </a:ext>
                </a:extLst>
              </p:cNvPr>
              <p:cNvSpPr>
                <a:spLocks/>
              </p:cNvSpPr>
              <p:nvPr/>
            </p:nvSpPr>
            <p:spPr bwMode="auto">
              <a:xfrm>
                <a:off x="4900613" y="4089400"/>
                <a:ext cx="133350" cy="38100"/>
              </a:xfrm>
              <a:custGeom>
                <a:avLst/>
                <a:gdLst>
                  <a:gd name="T0" fmla="*/ 346 w 421"/>
                  <a:gd name="T1" fmla="*/ 0 h 121"/>
                  <a:gd name="T2" fmla="*/ 76 w 421"/>
                  <a:gd name="T3" fmla="*/ 0 h 121"/>
                  <a:gd name="T4" fmla="*/ 68 w 421"/>
                  <a:gd name="T5" fmla="*/ 1 h 121"/>
                  <a:gd name="T6" fmla="*/ 61 w 421"/>
                  <a:gd name="T7" fmla="*/ 3 h 121"/>
                  <a:gd name="T8" fmla="*/ 53 w 421"/>
                  <a:gd name="T9" fmla="*/ 4 h 121"/>
                  <a:gd name="T10" fmla="*/ 46 w 421"/>
                  <a:gd name="T11" fmla="*/ 6 h 121"/>
                  <a:gd name="T12" fmla="*/ 40 w 421"/>
                  <a:gd name="T13" fmla="*/ 10 h 121"/>
                  <a:gd name="T14" fmla="*/ 33 w 421"/>
                  <a:gd name="T15" fmla="*/ 13 h 121"/>
                  <a:gd name="T16" fmla="*/ 27 w 421"/>
                  <a:gd name="T17" fmla="*/ 18 h 121"/>
                  <a:gd name="T18" fmla="*/ 22 w 421"/>
                  <a:gd name="T19" fmla="*/ 22 h 121"/>
                  <a:gd name="T20" fmla="*/ 18 w 421"/>
                  <a:gd name="T21" fmla="*/ 28 h 121"/>
                  <a:gd name="T22" fmla="*/ 13 w 421"/>
                  <a:gd name="T23" fmla="*/ 34 h 121"/>
                  <a:gd name="T24" fmla="*/ 10 w 421"/>
                  <a:gd name="T25" fmla="*/ 40 h 121"/>
                  <a:gd name="T26" fmla="*/ 6 w 421"/>
                  <a:gd name="T27" fmla="*/ 47 h 121"/>
                  <a:gd name="T28" fmla="*/ 4 w 421"/>
                  <a:gd name="T29" fmla="*/ 54 h 121"/>
                  <a:gd name="T30" fmla="*/ 2 w 421"/>
                  <a:gd name="T31" fmla="*/ 61 h 121"/>
                  <a:gd name="T32" fmla="*/ 0 w 421"/>
                  <a:gd name="T33" fmla="*/ 67 h 121"/>
                  <a:gd name="T34" fmla="*/ 0 w 421"/>
                  <a:gd name="T35" fmla="*/ 76 h 121"/>
                  <a:gd name="T36" fmla="*/ 0 w 421"/>
                  <a:gd name="T37" fmla="*/ 121 h 121"/>
                  <a:gd name="T38" fmla="*/ 421 w 421"/>
                  <a:gd name="T39" fmla="*/ 121 h 121"/>
                  <a:gd name="T40" fmla="*/ 421 w 421"/>
                  <a:gd name="T41" fmla="*/ 76 h 121"/>
                  <a:gd name="T42" fmla="*/ 421 w 421"/>
                  <a:gd name="T43" fmla="*/ 67 h 121"/>
                  <a:gd name="T44" fmla="*/ 420 w 421"/>
                  <a:gd name="T45" fmla="*/ 61 h 121"/>
                  <a:gd name="T46" fmla="*/ 417 w 421"/>
                  <a:gd name="T47" fmla="*/ 54 h 121"/>
                  <a:gd name="T48" fmla="*/ 415 w 421"/>
                  <a:gd name="T49" fmla="*/ 47 h 121"/>
                  <a:gd name="T50" fmla="*/ 412 w 421"/>
                  <a:gd name="T51" fmla="*/ 40 h 121"/>
                  <a:gd name="T52" fmla="*/ 408 w 421"/>
                  <a:gd name="T53" fmla="*/ 34 h 121"/>
                  <a:gd name="T54" fmla="*/ 403 w 421"/>
                  <a:gd name="T55" fmla="*/ 28 h 121"/>
                  <a:gd name="T56" fmla="*/ 399 w 421"/>
                  <a:gd name="T57" fmla="*/ 22 h 121"/>
                  <a:gd name="T58" fmla="*/ 393 w 421"/>
                  <a:gd name="T59" fmla="*/ 18 h 121"/>
                  <a:gd name="T60" fmla="*/ 387 w 421"/>
                  <a:gd name="T61" fmla="*/ 13 h 121"/>
                  <a:gd name="T62" fmla="*/ 381 w 421"/>
                  <a:gd name="T63" fmla="*/ 10 h 121"/>
                  <a:gd name="T64" fmla="*/ 375 w 421"/>
                  <a:gd name="T65" fmla="*/ 6 h 121"/>
                  <a:gd name="T66" fmla="*/ 368 w 421"/>
                  <a:gd name="T67" fmla="*/ 4 h 121"/>
                  <a:gd name="T68" fmla="*/ 361 w 421"/>
                  <a:gd name="T69" fmla="*/ 3 h 121"/>
                  <a:gd name="T70" fmla="*/ 354 w 421"/>
                  <a:gd name="T71" fmla="*/ 1 h 121"/>
                  <a:gd name="T72" fmla="*/ 346 w 421"/>
                  <a:gd name="T7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1" h="121">
                    <a:moveTo>
                      <a:pt x="346" y="0"/>
                    </a:moveTo>
                    <a:lnTo>
                      <a:pt x="76" y="0"/>
                    </a:lnTo>
                    <a:lnTo>
                      <a:pt x="68" y="1"/>
                    </a:lnTo>
                    <a:lnTo>
                      <a:pt x="61" y="3"/>
                    </a:lnTo>
                    <a:lnTo>
                      <a:pt x="53" y="4"/>
                    </a:lnTo>
                    <a:lnTo>
                      <a:pt x="46" y="6"/>
                    </a:lnTo>
                    <a:lnTo>
                      <a:pt x="40" y="10"/>
                    </a:lnTo>
                    <a:lnTo>
                      <a:pt x="33" y="13"/>
                    </a:lnTo>
                    <a:lnTo>
                      <a:pt x="27" y="18"/>
                    </a:lnTo>
                    <a:lnTo>
                      <a:pt x="22" y="22"/>
                    </a:lnTo>
                    <a:lnTo>
                      <a:pt x="18" y="28"/>
                    </a:lnTo>
                    <a:lnTo>
                      <a:pt x="13" y="34"/>
                    </a:lnTo>
                    <a:lnTo>
                      <a:pt x="10" y="40"/>
                    </a:lnTo>
                    <a:lnTo>
                      <a:pt x="6" y="47"/>
                    </a:lnTo>
                    <a:lnTo>
                      <a:pt x="4" y="54"/>
                    </a:lnTo>
                    <a:lnTo>
                      <a:pt x="2" y="61"/>
                    </a:lnTo>
                    <a:lnTo>
                      <a:pt x="0" y="67"/>
                    </a:lnTo>
                    <a:lnTo>
                      <a:pt x="0" y="76"/>
                    </a:lnTo>
                    <a:lnTo>
                      <a:pt x="0" y="121"/>
                    </a:lnTo>
                    <a:lnTo>
                      <a:pt x="421" y="121"/>
                    </a:lnTo>
                    <a:lnTo>
                      <a:pt x="421" y="76"/>
                    </a:lnTo>
                    <a:lnTo>
                      <a:pt x="421" y="67"/>
                    </a:lnTo>
                    <a:lnTo>
                      <a:pt x="420" y="61"/>
                    </a:lnTo>
                    <a:lnTo>
                      <a:pt x="417" y="54"/>
                    </a:lnTo>
                    <a:lnTo>
                      <a:pt x="415" y="47"/>
                    </a:lnTo>
                    <a:lnTo>
                      <a:pt x="412" y="40"/>
                    </a:lnTo>
                    <a:lnTo>
                      <a:pt x="408" y="34"/>
                    </a:lnTo>
                    <a:lnTo>
                      <a:pt x="403" y="28"/>
                    </a:lnTo>
                    <a:lnTo>
                      <a:pt x="399" y="22"/>
                    </a:lnTo>
                    <a:lnTo>
                      <a:pt x="393" y="18"/>
                    </a:lnTo>
                    <a:lnTo>
                      <a:pt x="387" y="13"/>
                    </a:lnTo>
                    <a:lnTo>
                      <a:pt x="381" y="10"/>
                    </a:lnTo>
                    <a:lnTo>
                      <a:pt x="375" y="6"/>
                    </a:lnTo>
                    <a:lnTo>
                      <a:pt x="368" y="4"/>
                    </a:lnTo>
                    <a:lnTo>
                      <a:pt x="361" y="3"/>
                    </a:lnTo>
                    <a:lnTo>
                      <a:pt x="354" y="1"/>
                    </a:lnTo>
                    <a:lnTo>
                      <a:pt x="3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57" name="Freeform 4749">
                <a:extLst>
                  <a:ext uri="{FF2B5EF4-FFF2-40B4-BE49-F238E27FC236}">
                    <a16:creationId xmlns:a16="http://schemas.microsoft.com/office/drawing/2014/main" id="{201F7A12-BAD4-41B3-A709-6E87F6ED5F59}"/>
                  </a:ext>
                </a:extLst>
              </p:cNvPr>
              <p:cNvSpPr>
                <a:spLocks/>
              </p:cNvSpPr>
              <p:nvPr/>
            </p:nvSpPr>
            <p:spPr bwMode="auto">
              <a:xfrm>
                <a:off x="5053013" y="4137025"/>
                <a:ext cx="134938" cy="85725"/>
              </a:xfrm>
              <a:custGeom>
                <a:avLst/>
                <a:gdLst>
                  <a:gd name="T0" fmla="*/ 0 w 421"/>
                  <a:gd name="T1" fmla="*/ 194 h 270"/>
                  <a:gd name="T2" fmla="*/ 0 w 421"/>
                  <a:gd name="T3" fmla="*/ 203 h 270"/>
                  <a:gd name="T4" fmla="*/ 1 w 421"/>
                  <a:gd name="T5" fmla="*/ 209 h 270"/>
                  <a:gd name="T6" fmla="*/ 4 w 421"/>
                  <a:gd name="T7" fmla="*/ 218 h 270"/>
                  <a:gd name="T8" fmla="*/ 6 w 421"/>
                  <a:gd name="T9" fmla="*/ 225 h 270"/>
                  <a:gd name="T10" fmla="*/ 9 w 421"/>
                  <a:gd name="T11" fmla="*/ 230 h 270"/>
                  <a:gd name="T12" fmla="*/ 13 w 421"/>
                  <a:gd name="T13" fmla="*/ 237 h 270"/>
                  <a:gd name="T14" fmla="*/ 17 w 421"/>
                  <a:gd name="T15" fmla="*/ 243 h 270"/>
                  <a:gd name="T16" fmla="*/ 22 w 421"/>
                  <a:gd name="T17" fmla="*/ 248 h 270"/>
                  <a:gd name="T18" fmla="*/ 27 w 421"/>
                  <a:gd name="T19" fmla="*/ 252 h 270"/>
                  <a:gd name="T20" fmla="*/ 33 w 421"/>
                  <a:gd name="T21" fmla="*/ 257 h 270"/>
                  <a:gd name="T22" fmla="*/ 39 w 421"/>
                  <a:gd name="T23" fmla="*/ 262 h 270"/>
                  <a:gd name="T24" fmla="*/ 45 w 421"/>
                  <a:gd name="T25" fmla="*/ 264 h 270"/>
                  <a:gd name="T26" fmla="*/ 52 w 421"/>
                  <a:gd name="T27" fmla="*/ 266 h 270"/>
                  <a:gd name="T28" fmla="*/ 60 w 421"/>
                  <a:gd name="T29" fmla="*/ 269 h 270"/>
                  <a:gd name="T30" fmla="*/ 67 w 421"/>
                  <a:gd name="T31" fmla="*/ 270 h 270"/>
                  <a:gd name="T32" fmla="*/ 75 w 421"/>
                  <a:gd name="T33" fmla="*/ 270 h 270"/>
                  <a:gd name="T34" fmla="*/ 345 w 421"/>
                  <a:gd name="T35" fmla="*/ 270 h 270"/>
                  <a:gd name="T36" fmla="*/ 353 w 421"/>
                  <a:gd name="T37" fmla="*/ 270 h 270"/>
                  <a:gd name="T38" fmla="*/ 360 w 421"/>
                  <a:gd name="T39" fmla="*/ 269 h 270"/>
                  <a:gd name="T40" fmla="*/ 367 w 421"/>
                  <a:gd name="T41" fmla="*/ 266 h 270"/>
                  <a:gd name="T42" fmla="*/ 374 w 421"/>
                  <a:gd name="T43" fmla="*/ 264 h 270"/>
                  <a:gd name="T44" fmla="*/ 381 w 421"/>
                  <a:gd name="T45" fmla="*/ 260 h 270"/>
                  <a:gd name="T46" fmla="*/ 387 w 421"/>
                  <a:gd name="T47" fmla="*/ 257 h 270"/>
                  <a:gd name="T48" fmla="*/ 393 w 421"/>
                  <a:gd name="T49" fmla="*/ 252 h 270"/>
                  <a:gd name="T50" fmla="*/ 399 w 421"/>
                  <a:gd name="T51" fmla="*/ 248 h 270"/>
                  <a:gd name="T52" fmla="*/ 403 w 421"/>
                  <a:gd name="T53" fmla="*/ 243 h 270"/>
                  <a:gd name="T54" fmla="*/ 408 w 421"/>
                  <a:gd name="T55" fmla="*/ 237 h 270"/>
                  <a:gd name="T56" fmla="*/ 411 w 421"/>
                  <a:gd name="T57" fmla="*/ 230 h 270"/>
                  <a:gd name="T58" fmla="*/ 415 w 421"/>
                  <a:gd name="T59" fmla="*/ 225 h 270"/>
                  <a:gd name="T60" fmla="*/ 417 w 421"/>
                  <a:gd name="T61" fmla="*/ 218 h 270"/>
                  <a:gd name="T62" fmla="*/ 419 w 421"/>
                  <a:gd name="T63" fmla="*/ 211 h 270"/>
                  <a:gd name="T64" fmla="*/ 421 w 421"/>
                  <a:gd name="T65" fmla="*/ 203 h 270"/>
                  <a:gd name="T66" fmla="*/ 421 w 421"/>
                  <a:gd name="T67" fmla="*/ 196 h 270"/>
                  <a:gd name="T68" fmla="*/ 421 w 421"/>
                  <a:gd name="T69" fmla="*/ 0 h 270"/>
                  <a:gd name="T70" fmla="*/ 0 w 421"/>
                  <a:gd name="T71" fmla="*/ 0 h 270"/>
                  <a:gd name="T72" fmla="*/ 0 w 421"/>
                  <a:gd name="T73" fmla="*/ 194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1" h="270">
                    <a:moveTo>
                      <a:pt x="0" y="194"/>
                    </a:moveTo>
                    <a:lnTo>
                      <a:pt x="0" y="203"/>
                    </a:lnTo>
                    <a:lnTo>
                      <a:pt x="1" y="209"/>
                    </a:lnTo>
                    <a:lnTo>
                      <a:pt x="4" y="218"/>
                    </a:lnTo>
                    <a:lnTo>
                      <a:pt x="6" y="225"/>
                    </a:lnTo>
                    <a:lnTo>
                      <a:pt x="9" y="230"/>
                    </a:lnTo>
                    <a:lnTo>
                      <a:pt x="13" y="237"/>
                    </a:lnTo>
                    <a:lnTo>
                      <a:pt x="17" y="243"/>
                    </a:lnTo>
                    <a:lnTo>
                      <a:pt x="22" y="248"/>
                    </a:lnTo>
                    <a:lnTo>
                      <a:pt x="27" y="252"/>
                    </a:lnTo>
                    <a:lnTo>
                      <a:pt x="33" y="257"/>
                    </a:lnTo>
                    <a:lnTo>
                      <a:pt x="39" y="262"/>
                    </a:lnTo>
                    <a:lnTo>
                      <a:pt x="45" y="264"/>
                    </a:lnTo>
                    <a:lnTo>
                      <a:pt x="52" y="266"/>
                    </a:lnTo>
                    <a:lnTo>
                      <a:pt x="60" y="269"/>
                    </a:lnTo>
                    <a:lnTo>
                      <a:pt x="67" y="270"/>
                    </a:lnTo>
                    <a:lnTo>
                      <a:pt x="75" y="270"/>
                    </a:lnTo>
                    <a:lnTo>
                      <a:pt x="345" y="270"/>
                    </a:lnTo>
                    <a:lnTo>
                      <a:pt x="353" y="270"/>
                    </a:lnTo>
                    <a:lnTo>
                      <a:pt x="360" y="269"/>
                    </a:lnTo>
                    <a:lnTo>
                      <a:pt x="367" y="266"/>
                    </a:lnTo>
                    <a:lnTo>
                      <a:pt x="374" y="264"/>
                    </a:lnTo>
                    <a:lnTo>
                      <a:pt x="381" y="260"/>
                    </a:lnTo>
                    <a:lnTo>
                      <a:pt x="387" y="257"/>
                    </a:lnTo>
                    <a:lnTo>
                      <a:pt x="393" y="252"/>
                    </a:lnTo>
                    <a:lnTo>
                      <a:pt x="399" y="248"/>
                    </a:lnTo>
                    <a:lnTo>
                      <a:pt x="403" y="243"/>
                    </a:lnTo>
                    <a:lnTo>
                      <a:pt x="408" y="237"/>
                    </a:lnTo>
                    <a:lnTo>
                      <a:pt x="411" y="230"/>
                    </a:lnTo>
                    <a:lnTo>
                      <a:pt x="415" y="225"/>
                    </a:lnTo>
                    <a:lnTo>
                      <a:pt x="417" y="218"/>
                    </a:lnTo>
                    <a:lnTo>
                      <a:pt x="419" y="211"/>
                    </a:lnTo>
                    <a:lnTo>
                      <a:pt x="421" y="203"/>
                    </a:lnTo>
                    <a:lnTo>
                      <a:pt x="421" y="196"/>
                    </a:lnTo>
                    <a:lnTo>
                      <a:pt x="421" y="0"/>
                    </a:lnTo>
                    <a:lnTo>
                      <a:pt x="0" y="0"/>
                    </a:lnTo>
                    <a:lnTo>
                      <a:pt x="0" y="1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58" name="Freeform 4750">
                <a:extLst>
                  <a:ext uri="{FF2B5EF4-FFF2-40B4-BE49-F238E27FC236}">
                    <a16:creationId xmlns:a16="http://schemas.microsoft.com/office/drawing/2014/main" id="{6F90758B-F302-4197-BD9D-915D8891B77E}"/>
                  </a:ext>
                </a:extLst>
              </p:cNvPr>
              <p:cNvSpPr>
                <a:spLocks/>
              </p:cNvSpPr>
              <p:nvPr/>
            </p:nvSpPr>
            <p:spPr bwMode="auto">
              <a:xfrm>
                <a:off x="5053013" y="4089400"/>
                <a:ext cx="134938" cy="38100"/>
              </a:xfrm>
              <a:custGeom>
                <a:avLst/>
                <a:gdLst>
                  <a:gd name="T0" fmla="*/ 345 w 421"/>
                  <a:gd name="T1" fmla="*/ 0 h 121"/>
                  <a:gd name="T2" fmla="*/ 75 w 421"/>
                  <a:gd name="T3" fmla="*/ 0 h 121"/>
                  <a:gd name="T4" fmla="*/ 67 w 421"/>
                  <a:gd name="T5" fmla="*/ 1 h 121"/>
                  <a:gd name="T6" fmla="*/ 60 w 421"/>
                  <a:gd name="T7" fmla="*/ 3 h 121"/>
                  <a:gd name="T8" fmla="*/ 52 w 421"/>
                  <a:gd name="T9" fmla="*/ 4 h 121"/>
                  <a:gd name="T10" fmla="*/ 45 w 421"/>
                  <a:gd name="T11" fmla="*/ 6 h 121"/>
                  <a:gd name="T12" fmla="*/ 39 w 421"/>
                  <a:gd name="T13" fmla="*/ 10 h 121"/>
                  <a:gd name="T14" fmla="*/ 33 w 421"/>
                  <a:gd name="T15" fmla="*/ 13 h 121"/>
                  <a:gd name="T16" fmla="*/ 27 w 421"/>
                  <a:gd name="T17" fmla="*/ 18 h 121"/>
                  <a:gd name="T18" fmla="*/ 22 w 421"/>
                  <a:gd name="T19" fmla="*/ 22 h 121"/>
                  <a:gd name="T20" fmla="*/ 17 w 421"/>
                  <a:gd name="T21" fmla="*/ 28 h 121"/>
                  <a:gd name="T22" fmla="*/ 13 w 421"/>
                  <a:gd name="T23" fmla="*/ 34 h 121"/>
                  <a:gd name="T24" fmla="*/ 9 w 421"/>
                  <a:gd name="T25" fmla="*/ 40 h 121"/>
                  <a:gd name="T26" fmla="*/ 6 w 421"/>
                  <a:gd name="T27" fmla="*/ 47 h 121"/>
                  <a:gd name="T28" fmla="*/ 4 w 421"/>
                  <a:gd name="T29" fmla="*/ 54 h 121"/>
                  <a:gd name="T30" fmla="*/ 1 w 421"/>
                  <a:gd name="T31" fmla="*/ 61 h 121"/>
                  <a:gd name="T32" fmla="*/ 0 w 421"/>
                  <a:gd name="T33" fmla="*/ 67 h 121"/>
                  <a:gd name="T34" fmla="*/ 0 w 421"/>
                  <a:gd name="T35" fmla="*/ 76 h 121"/>
                  <a:gd name="T36" fmla="*/ 0 w 421"/>
                  <a:gd name="T37" fmla="*/ 121 h 121"/>
                  <a:gd name="T38" fmla="*/ 421 w 421"/>
                  <a:gd name="T39" fmla="*/ 121 h 121"/>
                  <a:gd name="T40" fmla="*/ 421 w 421"/>
                  <a:gd name="T41" fmla="*/ 76 h 121"/>
                  <a:gd name="T42" fmla="*/ 421 w 421"/>
                  <a:gd name="T43" fmla="*/ 67 h 121"/>
                  <a:gd name="T44" fmla="*/ 419 w 421"/>
                  <a:gd name="T45" fmla="*/ 61 h 121"/>
                  <a:gd name="T46" fmla="*/ 417 w 421"/>
                  <a:gd name="T47" fmla="*/ 54 h 121"/>
                  <a:gd name="T48" fmla="*/ 415 w 421"/>
                  <a:gd name="T49" fmla="*/ 47 h 121"/>
                  <a:gd name="T50" fmla="*/ 411 w 421"/>
                  <a:gd name="T51" fmla="*/ 40 h 121"/>
                  <a:gd name="T52" fmla="*/ 408 w 421"/>
                  <a:gd name="T53" fmla="*/ 34 h 121"/>
                  <a:gd name="T54" fmla="*/ 403 w 421"/>
                  <a:gd name="T55" fmla="*/ 28 h 121"/>
                  <a:gd name="T56" fmla="*/ 399 w 421"/>
                  <a:gd name="T57" fmla="*/ 22 h 121"/>
                  <a:gd name="T58" fmla="*/ 393 w 421"/>
                  <a:gd name="T59" fmla="*/ 18 h 121"/>
                  <a:gd name="T60" fmla="*/ 387 w 421"/>
                  <a:gd name="T61" fmla="*/ 13 h 121"/>
                  <a:gd name="T62" fmla="*/ 381 w 421"/>
                  <a:gd name="T63" fmla="*/ 10 h 121"/>
                  <a:gd name="T64" fmla="*/ 374 w 421"/>
                  <a:gd name="T65" fmla="*/ 6 h 121"/>
                  <a:gd name="T66" fmla="*/ 367 w 421"/>
                  <a:gd name="T67" fmla="*/ 4 h 121"/>
                  <a:gd name="T68" fmla="*/ 360 w 421"/>
                  <a:gd name="T69" fmla="*/ 3 h 121"/>
                  <a:gd name="T70" fmla="*/ 353 w 421"/>
                  <a:gd name="T71" fmla="*/ 1 h 121"/>
                  <a:gd name="T72" fmla="*/ 345 w 421"/>
                  <a:gd name="T7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1" h="121">
                    <a:moveTo>
                      <a:pt x="345" y="0"/>
                    </a:moveTo>
                    <a:lnTo>
                      <a:pt x="75" y="0"/>
                    </a:lnTo>
                    <a:lnTo>
                      <a:pt x="67" y="1"/>
                    </a:lnTo>
                    <a:lnTo>
                      <a:pt x="60" y="3"/>
                    </a:lnTo>
                    <a:lnTo>
                      <a:pt x="52" y="4"/>
                    </a:lnTo>
                    <a:lnTo>
                      <a:pt x="45" y="6"/>
                    </a:lnTo>
                    <a:lnTo>
                      <a:pt x="39" y="10"/>
                    </a:lnTo>
                    <a:lnTo>
                      <a:pt x="33" y="13"/>
                    </a:lnTo>
                    <a:lnTo>
                      <a:pt x="27" y="18"/>
                    </a:lnTo>
                    <a:lnTo>
                      <a:pt x="22" y="22"/>
                    </a:lnTo>
                    <a:lnTo>
                      <a:pt x="17" y="28"/>
                    </a:lnTo>
                    <a:lnTo>
                      <a:pt x="13" y="34"/>
                    </a:lnTo>
                    <a:lnTo>
                      <a:pt x="9" y="40"/>
                    </a:lnTo>
                    <a:lnTo>
                      <a:pt x="6" y="47"/>
                    </a:lnTo>
                    <a:lnTo>
                      <a:pt x="4" y="54"/>
                    </a:lnTo>
                    <a:lnTo>
                      <a:pt x="1" y="61"/>
                    </a:lnTo>
                    <a:lnTo>
                      <a:pt x="0" y="67"/>
                    </a:lnTo>
                    <a:lnTo>
                      <a:pt x="0" y="76"/>
                    </a:lnTo>
                    <a:lnTo>
                      <a:pt x="0" y="121"/>
                    </a:lnTo>
                    <a:lnTo>
                      <a:pt x="421" y="121"/>
                    </a:lnTo>
                    <a:lnTo>
                      <a:pt x="421" y="76"/>
                    </a:lnTo>
                    <a:lnTo>
                      <a:pt x="421" y="67"/>
                    </a:lnTo>
                    <a:lnTo>
                      <a:pt x="419" y="61"/>
                    </a:lnTo>
                    <a:lnTo>
                      <a:pt x="417" y="54"/>
                    </a:lnTo>
                    <a:lnTo>
                      <a:pt x="415" y="47"/>
                    </a:lnTo>
                    <a:lnTo>
                      <a:pt x="411" y="40"/>
                    </a:lnTo>
                    <a:lnTo>
                      <a:pt x="408" y="34"/>
                    </a:lnTo>
                    <a:lnTo>
                      <a:pt x="403" y="28"/>
                    </a:lnTo>
                    <a:lnTo>
                      <a:pt x="399" y="22"/>
                    </a:lnTo>
                    <a:lnTo>
                      <a:pt x="393" y="18"/>
                    </a:lnTo>
                    <a:lnTo>
                      <a:pt x="387" y="13"/>
                    </a:lnTo>
                    <a:lnTo>
                      <a:pt x="381" y="10"/>
                    </a:lnTo>
                    <a:lnTo>
                      <a:pt x="374" y="6"/>
                    </a:lnTo>
                    <a:lnTo>
                      <a:pt x="367" y="4"/>
                    </a:lnTo>
                    <a:lnTo>
                      <a:pt x="360" y="3"/>
                    </a:lnTo>
                    <a:lnTo>
                      <a:pt x="353" y="1"/>
                    </a:lnTo>
                    <a:lnTo>
                      <a:pt x="3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Calibri" panose="020F0502020204030204"/>
                  <a:ea typeface="+mn-ea"/>
                  <a:cs typeface="+mn-cs"/>
                </a:endParaRPr>
              </a:p>
            </p:txBody>
          </p:sp>
        </p:grpSp>
      </p:grpSp>
      <p:sp>
        <p:nvSpPr>
          <p:cNvPr id="93" name="Rectangle 34">
            <a:extLst>
              <a:ext uri="{FF2B5EF4-FFF2-40B4-BE49-F238E27FC236}">
                <a16:creationId xmlns:a16="http://schemas.microsoft.com/office/drawing/2014/main" id="{C636E1C9-E36F-45F5-B0B0-AA06B8739640}"/>
              </a:ext>
            </a:extLst>
          </p:cNvPr>
          <p:cNvSpPr/>
          <p:nvPr/>
        </p:nvSpPr>
        <p:spPr>
          <a:xfrm flipV="1">
            <a:off x="-76707" y="3047927"/>
            <a:ext cx="12268707" cy="3904605"/>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 name="connsiteX0" fmla="*/ 0 w 3479810"/>
              <a:gd name="connsiteY0" fmla="*/ 0 h 1207779"/>
              <a:gd name="connsiteX1" fmla="*/ 3479810 w 3479810"/>
              <a:gd name="connsiteY1" fmla="*/ 4553 h 1207779"/>
              <a:gd name="connsiteX2" fmla="*/ 3479810 w 3479810"/>
              <a:gd name="connsiteY2" fmla="*/ 1130405 h 1207779"/>
              <a:gd name="connsiteX3" fmla="*/ 2185493 w 3479810"/>
              <a:gd name="connsiteY3" fmla="*/ 775263 h 1207779"/>
              <a:gd name="connsiteX4" fmla="*/ 0 w 3479810"/>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9810" h="1207779">
                <a:moveTo>
                  <a:pt x="0" y="0"/>
                </a:moveTo>
                <a:lnTo>
                  <a:pt x="3479810" y="4553"/>
                </a:lnTo>
                <a:lnTo>
                  <a:pt x="3479810" y="1130405"/>
                </a:lnTo>
                <a:cubicBezTo>
                  <a:pt x="3479511" y="1433772"/>
                  <a:pt x="3448427" y="745115"/>
                  <a:pt x="2185493" y="775263"/>
                </a:cubicBezTo>
                <a:cubicBezTo>
                  <a:pt x="922559" y="805411"/>
                  <a:pt x="59199" y="93304"/>
                  <a:pt x="0" y="0"/>
                </a:cubicBezTo>
                <a:close/>
              </a:path>
            </a:pathLst>
          </a:custGeom>
          <a:gradFill>
            <a:gsLst>
              <a:gs pos="21000">
                <a:schemeClr val="accent1">
                  <a:alpha val="10000"/>
                </a:schemeClr>
              </a:gs>
              <a:gs pos="100000">
                <a:schemeClr val="accent2">
                  <a:alpha val="1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Tree>
    <p:extLst>
      <p:ext uri="{BB962C8B-B14F-4D97-AF65-F5344CB8AC3E}">
        <p14:creationId xmlns:p14="http://schemas.microsoft.com/office/powerpoint/2010/main" val="35451089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 name="Rectangle 34">
            <a:extLst>
              <a:ext uri="{FF2B5EF4-FFF2-40B4-BE49-F238E27FC236}">
                <a16:creationId xmlns:a16="http://schemas.microsoft.com/office/drawing/2014/main" id="{D1F89E4E-E549-4B72-B0C1-B89855BD0328}"/>
              </a:ext>
            </a:extLst>
          </p:cNvPr>
          <p:cNvSpPr/>
          <p:nvPr/>
        </p:nvSpPr>
        <p:spPr>
          <a:xfrm flipH="1" flipV="1">
            <a:off x="-2" y="3554574"/>
            <a:ext cx="11487152" cy="3303426"/>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 name="connsiteX0" fmla="*/ 0 w 3479810"/>
              <a:gd name="connsiteY0" fmla="*/ 0 h 1207779"/>
              <a:gd name="connsiteX1" fmla="*/ 3479810 w 3479810"/>
              <a:gd name="connsiteY1" fmla="*/ 4553 h 1207779"/>
              <a:gd name="connsiteX2" fmla="*/ 3479810 w 3479810"/>
              <a:gd name="connsiteY2" fmla="*/ 1130405 h 1207779"/>
              <a:gd name="connsiteX3" fmla="*/ 2185493 w 3479810"/>
              <a:gd name="connsiteY3" fmla="*/ 775263 h 1207779"/>
              <a:gd name="connsiteX4" fmla="*/ 0 w 3479810"/>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9810" h="1207779">
                <a:moveTo>
                  <a:pt x="0" y="0"/>
                </a:moveTo>
                <a:lnTo>
                  <a:pt x="3479810" y="4553"/>
                </a:lnTo>
                <a:lnTo>
                  <a:pt x="3479810" y="1130405"/>
                </a:lnTo>
                <a:cubicBezTo>
                  <a:pt x="3479511" y="1433772"/>
                  <a:pt x="3448427" y="745115"/>
                  <a:pt x="2185493" y="775263"/>
                </a:cubicBezTo>
                <a:cubicBezTo>
                  <a:pt x="922559" y="805411"/>
                  <a:pt x="59199" y="93304"/>
                  <a:pt x="0" y="0"/>
                </a:cubicBezTo>
                <a:close/>
              </a:path>
            </a:pathLst>
          </a:custGeom>
          <a:gradFill>
            <a:gsLst>
              <a:gs pos="21000">
                <a:schemeClr val="accent1">
                  <a:alpha val="10000"/>
                </a:schemeClr>
              </a:gs>
              <a:gs pos="100000">
                <a:schemeClr val="accent2">
                  <a:alpha val="1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259" name="Picture 258" descr="A group of people sitting at a table&#10;&#10;Description automatically generated">
            <a:extLst>
              <a:ext uri="{FF2B5EF4-FFF2-40B4-BE49-F238E27FC236}">
                <a16:creationId xmlns:a16="http://schemas.microsoft.com/office/drawing/2014/main" id="{F0F7A178-0008-4EBA-B8D1-993F1780F153}"/>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21868" r="47907" b="16601"/>
          <a:stretch/>
        </p:blipFill>
        <p:spPr>
          <a:xfrm>
            <a:off x="624344" y="0"/>
            <a:ext cx="4052641" cy="6125029"/>
          </a:xfrm>
          <a:prstGeom prst="rect">
            <a:avLst/>
          </a:prstGeom>
        </p:spPr>
      </p:pic>
      <p:sp>
        <p:nvSpPr>
          <p:cNvPr id="4" name="Slide Number Placeholder 3">
            <a:extLst>
              <a:ext uri="{FF2B5EF4-FFF2-40B4-BE49-F238E27FC236}">
                <a16:creationId xmlns:a16="http://schemas.microsoft.com/office/drawing/2014/main" id="{6CC4C589-D729-4B39-B788-06282CB68535}"/>
              </a:ext>
            </a:extLst>
          </p:cNvPr>
          <p:cNvSpPr>
            <a:spLocks noGrp="1"/>
          </p:cNvSpPr>
          <p:nvPr>
            <p:ph type="sldNum" sz="quarter" idx="4"/>
          </p:nvPr>
        </p:nvSpPr>
        <p:spPr/>
        <p:txBody>
          <a:bodyPr/>
          <a:lstStyle/>
          <a:p>
            <a:fld id="{B84D2E29-67F4-44D8-B0E3-F54815B4F123}" type="slidenum">
              <a:rPr lang="en-US" smtClean="0"/>
              <a:pPr/>
              <a:t>8</a:t>
            </a:fld>
            <a:endParaRPr lang="en-US" dirty="0"/>
          </a:p>
        </p:txBody>
      </p:sp>
      <p:sp>
        <p:nvSpPr>
          <p:cNvPr id="256" name="Rectangle 255">
            <a:extLst>
              <a:ext uri="{FF2B5EF4-FFF2-40B4-BE49-F238E27FC236}">
                <a16:creationId xmlns:a16="http://schemas.microsoft.com/office/drawing/2014/main" id="{562E07FC-6BAE-43C3-9C70-3CD3DB4FC862}"/>
              </a:ext>
            </a:extLst>
          </p:cNvPr>
          <p:cNvSpPr/>
          <p:nvPr/>
        </p:nvSpPr>
        <p:spPr>
          <a:xfrm>
            <a:off x="624344" y="19649"/>
            <a:ext cx="4053562" cy="6125029"/>
          </a:xfrm>
          <a:prstGeom prst="rect">
            <a:avLst/>
          </a:pr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57" name="Title 7">
            <a:extLst>
              <a:ext uri="{FF2B5EF4-FFF2-40B4-BE49-F238E27FC236}">
                <a16:creationId xmlns:a16="http://schemas.microsoft.com/office/drawing/2014/main" id="{D6BBC02A-57B6-4751-8230-AE7A6A241904}"/>
              </a:ext>
            </a:extLst>
          </p:cNvPr>
          <p:cNvSpPr>
            <a:spLocks noGrp="1"/>
          </p:cNvSpPr>
          <p:nvPr>
            <p:ph type="title"/>
          </p:nvPr>
        </p:nvSpPr>
        <p:spPr>
          <a:xfrm>
            <a:off x="1080870" y="4182968"/>
            <a:ext cx="2660005" cy="1661993"/>
          </a:xfrm>
        </p:spPr>
        <p:txBody>
          <a:bodyPr>
            <a:spAutoFit/>
          </a:bodyPr>
          <a:lstStyle/>
          <a:p>
            <a:r>
              <a:rPr lang="en-US" sz="4000" dirty="0">
                <a:solidFill>
                  <a:schemeClr val="bg1"/>
                </a:solidFill>
              </a:rPr>
              <a:t>Data Set </a:t>
            </a:r>
            <a:br>
              <a:rPr lang="en-US" sz="4000" dirty="0">
                <a:solidFill>
                  <a:schemeClr val="bg1"/>
                </a:solidFill>
              </a:rPr>
            </a:br>
            <a:r>
              <a:rPr lang="en-US" sz="4000" dirty="0">
                <a:solidFill>
                  <a:schemeClr val="bg1"/>
                </a:solidFill>
              </a:rPr>
              <a:t>contains 12 Features</a:t>
            </a:r>
          </a:p>
        </p:txBody>
      </p:sp>
      <p:grpSp>
        <p:nvGrpSpPr>
          <p:cNvPr id="270" name="Group 269">
            <a:extLst>
              <a:ext uri="{FF2B5EF4-FFF2-40B4-BE49-F238E27FC236}">
                <a16:creationId xmlns:a16="http://schemas.microsoft.com/office/drawing/2014/main" id="{349E171A-E5D6-4E03-BC14-FC831043C1C6}"/>
              </a:ext>
            </a:extLst>
          </p:cNvPr>
          <p:cNvGrpSpPr/>
          <p:nvPr/>
        </p:nvGrpSpPr>
        <p:grpSpPr>
          <a:xfrm>
            <a:off x="5245615" y="5607174"/>
            <a:ext cx="6430771" cy="616502"/>
            <a:chOff x="4876326" y="4329253"/>
            <a:chExt cx="6430771" cy="616502"/>
          </a:xfrm>
        </p:grpSpPr>
        <p:grpSp>
          <p:nvGrpSpPr>
            <p:cNvPr id="261" name="Group 260">
              <a:extLst>
                <a:ext uri="{FF2B5EF4-FFF2-40B4-BE49-F238E27FC236}">
                  <a16:creationId xmlns:a16="http://schemas.microsoft.com/office/drawing/2014/main" id="{A4F90803-616A-4F48-8F8D-0985451976A4}"/>
                </a:ext>
              </a:extLst>
            </p:cNvPr>
            <p:cNvGrpSpPr/>
            <p:nvPr/>
          </p:nvGrpSpPr>
          <p:grpSpPr>
            <a:xfrm>
              <a:off x="4876326" y="4329253"/>
              <a:ext cx="1869908" cy="616502"/>
              <a:chOff x="6096000" y="4458890"/>
              <a:chExt cx="2081090" cy="616502"/>
            </a:xfrm>
          </p:grpSpPr>
          <p:sp>
            <p:nvSpPr>
              <p:cNvPr id="262" name="TextBox 50">
                <a:extLst>
                  <a:ext uri="{FF2B5EF4-FFF2-40B4-BE49-F238E27FC236}">
                    <a16:creationId xmlns:a16="http://schemas.microsoft.com/office/drawing/2014/main" id="{A1385CD9-64EE-4676-834D-93440187C740}"/>
                  </a:ext>
                </a:extLst>
              </p:cNvPr>
              <p:cNvSpPr txBox="1"/>
              <p:nvPr/>
            </p:nvSpPr>
            <p:spPr>
              <a:xfrm>
                <a:off x="6096003" y="4458890"/>
                <a:ext cx="2081087" cy="276999"/>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b="1" dirty="0"/>
              </a:p>
            </p:txBody>
          </p:sp>
          <p:sp>
            <p:nvSpPr>
              <p:cNvPr id="263" name="TextBox 48">
                <a:extLst>
                  <a:ext uri="{FF2B5EF4-FFF2-40B4-BE49-F238E27FC236}">
                    <a16:creationId xmlns:a16="http://schemas.microsoft.com/office/drawing/2014/main" id="{6B483F3C-958B-4C3B-B2F5-D70E68ECAF2D}"/>
                  </a:ext>
                </a:extLst>
              </p:cNvPr>
              <p:cNvSpPr txBox="1"/>
              <p:nvPr/>
            </p:nvSpPr>
            <p:spPr>
              <a:xfrm>
                <a:off x="6096000" y="4859948"/>
                <a:ext cx="2081087" cy="215444"/>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sp>
          <p:nvSpPr>
            <p:cNvPr id="266" name="TextBox 48">
              <a:extLst>
                <a:ext uri="{FF2B5EF4-FFF2-40B4-BE49-F238E27FC236}">
                  <a16:creationId xmlns:a16="http://schemas.microsoft.com/office/drawing/2014/main" id="{D5B4CCE1-EA56-4FBD-85E2-58651789C841}"/>
                </a:ext>
              </a:extLst>
            </p:cNvPr>
            <p:cNvSpPr txBox="1"/>
            <p:nvPr/>
          </p:nvSpPr>
          <p:spPr>
            <a:xfrm>
              <a:off x="7156757" y="4730311"/>
              <a:ext cx="1869905" cy="215444"/>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267" name="Group 266">
              <a:extLst>
                <a:ext uri="{FF2B5EF4-FFF2-40B4-BE49-F238E27FC236}">
                  <a16:creationId xmlns:a16="http://schemas.microsoft.com/office/drawing/2014/main" id="{C3A7A728-137A-4BD9-A29D-531AF076F127}"/>
                </a:ext>
              </a:extLst>
            </p:cNvPr>
            <p:cNvGrpSpPr/>
            <p:nvPr/>
          </p:nvGrpSpPr>
          <p:grpSpPr>
            <a:xfrm>
              <a:off x="9437189" y="4329253"/>
              <a:ext cx="1869908" cy="616502"/>
              <a:chOff x="6096000" y="4458890"/>
              <a:chExt cx="2081090" cy="616502"/>
            </a:xfrm>
          </p:grpSpPr>
          <p:sp>
            <p:nvSpPr>
              <p:cNvPr id="268" name="TextBox 50">
                <a:extLst>
                  <a:ext uri="{FF2B5EF4-FFF2-40B4-BE49-F238E27FC236}">
                    <a16:creationId xmlns:a16="http://schemas.microsoft.com/office/drawing/2014/main" id="{AF734C42-49CE-49A6-A373-5A61C79DC15F}"/>
                  </a:ext>
                </a:extLst>
              </p:cNvPr>
              <p:cNvSpPr txBox="1"/>
              <p:nvPr/>
            </p:nvSpPr>
            <p:spPr>
              <a:xfrm>
                <a:off x="6096003" y="4458890"/>
                <a:ext cx="2081087" cy="276999"/>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dirty="0"/>
                  <a:t> </a:t>
                </a:r>
              </a:p>
            </p:txBody>
          </p:sp>
          <p:sp>
            <p:nvSpPr>
              <p:cNvPr id="269" name="TextBox 48">
                <a:extLst>
                  <a:ext uri="{FF2B5EF4-FFF2-40B4-BE49-F238E27FC236}">
                    <a16:creationId xmlns:a16="http://schemas.microsoft.com/office/drawing/2014/main" id="{8E98DD25-72AF-40AE-BE45-DBDC5E1A4076}"/>
                  </a:ext>
                </a:extLst>
              </p:cNvPr>
              <p:cNvSpPr txBox="1"/>
              <p:nvPr/>
            </p:nvSpPr>
            <p:spPr>
              <a:xfrm>
                <a:off x="6096000" y="4859948"/>
                <a:ext cx="2081087" cy="215444"/>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sp>
        <p:nvSpPr>
          <p:cNvPr id="277" name="Freeform 104">
            <a:extLst>
              <a:ext uri="{FF2B5EF4-FFF2-40B4-BE49-F238E27FC236}">
                <a16:creationId xmlns:a16="http://schemas.microsoft.com/office/drawing/2014/main" id="{FA4E45B2-3D0D-4E4D-B26A-634429D8F186}"/>
              </a:ext>
            </a:extLst>
          </p:cNvPr>
          <p:cNvSpPr>
            <a:spLocks noEditPoints="1"/>
          </p:cNvSpPr>
          <p:nvPr/>
        </p:nvSpPr>
        <p:spPr bwMode="auto">
          <a:xfrm>
            <a:off x="1080870" y="3534925"/>
            <a:ext cx="670968" cy="673922"/>
          </a:xfrm>
          <a:custGeom>
            <a:avLst/>
            <a:gdLst>
              <a:gd name="T0" fmla="*/ 36 w 96"/>
              <a:gd name="T1" fmla="*/ 72 h 96"/>
              <a:gd name="T2" fmla="*/ 59 w 96"/>
              <a:gd name="T3" fmla="*/ 64 h 96"/>
              <a:gd name="T4" fmla="*/ 89 w 96"/>
              <a:gd name="T5" fmla="*/ 95 h 96"/>
              <a:gd name="T6" fmla="*/ 95 w 96"/>
              <a:gd name="T7" fmla="*/ 95 h 96"/>
              <a:gd name="T8" fmla="*/ 95 w 96"/>
              <a:gd name="T9" fmla="*/ 89 h 96"/>
              <a:gd name="T10" fmla="*/ 64 w 96"/>
              <a:gd name="T11" fmla="*/ 58 h 96"/>
              <a:gd name="T12" fmla="*/ 72 w 96"/>
              <a:gd name="T13" fmla="*/ 36 h 96"/>
              <a:gd name="T14" fmla="*/ 36 w 96"/>
              <a:gd name="T15" fmla="*/ 0 h 96"/>
              <a:gd name="T16" fmla="*/ 0 w 96"/>
              <a:gd name="T17" fmla="*/ 36 h 96"/>
              <a:gd name="T18" fmla="*/ 36 w 96"/>
              <a:gd name="T19" fmla="*/ 72 h 96"/>
              <a:gd name="T20" fmla="*/ 36 w 96"/>
              <a:gd name="T21" fmla="*/ 8 h 96"/>
              <a:gd name="T22" fmla="*/ 64 w 96"/>
              <a:gd name="T23" fmla="*/ 36 h 96"/>
              <a:gd name="T24" fmla="*/ 36 w 96"/>
              <a:gd name="T25" fmla="*/ 64 h 96"/>
              <a:gd name="T26" fmla="*/ 8 w 96"/>
              <a:gd name="T27" fmla="*/ 36 h 96"/>
              <a:gd name="T28" fmla="*/ 36 w 96"/>
              <a:gd name="T2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96">
                <a:moveTo>
                  <a:pt x="36" y="72"/>
                </a:moveTo>
                <a:cubicBezTo>
                  <a:pt x="45" y="72"/>
                  <a:pt x="52" y="69"/>
                  <a:pt x="59" y="64"/>
                </a:cubicBezTo>
                <a:cubicBezTo>
                  <a:pt x="89" y="95"/>
                  <a:pt x="89" y="95"/>
                  <a:pt x="89" y="95"/>
                </a:cubicBezTo>
                <a:cubicBezTo>
                  <a:pt x="91" y="96"/>
                  <a:pt x="93" y="96"/>
                  <a:pt x="95" y="95"/>
                </a:cubicBezTo>
                <a:cubicBezTo>
                  <a:pt x="96" y="93"/>
                  <a:pt x="96" y="91"/>
                  <a:pt x="95" y="89"/>
                </a:cubicBezTo>
                <a:cubicBezTo>
                  <a:pt x="64" y="58"/>
                  <a:pt x="64" y="58"/>
                  <a:pt x="64" y="58"/>
                </a:cubicBezTo>
                <a:cubicBezTo>
                  <a:pt x="69" y="52"/>
                  <a:pt x="72" y="44"/>
                  <a:pt x="72" y="36"/>
                </a:cubicBezTo>
                <a:cubicBezTo>
                  <a:pt x="72" y="16"/>
                  <a:pt x="56" y="0"/>
                  <a:pt x="36" y="0"/>
                </a:cubicBezTo>
                <a:cubicBezTo>
                  <a:pt x="16" y="0"/>
                  <a:pt x="0" y="16"/>
                  <a:pt x="0" y="36"/>
                </a:cubicBezTo>
                <a:cubicBezTo>
                  <a:pt x="0" y="56"/>
                  <a:pt x="16" y="72"/>
                  <a:pt x="36" y="72"/>
                </a:cubicBezTo>
                <a:close/>
                <a:moveTo>
                  <a:pt x="36" y="8"/>
                </a:moveTo>
                <a:cubicBezTo>
                  <a:pt x="51" y="8"/>
                  <a:pt x="64" y="21"/>
                  <a:pt x="64" y="36"/>
                </a:cubicBezTo>
                <a:cubicBezTo>
                  <a:pt x="64" y="51"/>
                  <a:pt x="51" y="64"/>
                  <a:pt x="36" y="64"/>
                </a:cubicBezTo>
                <a:cubicBezTo>
                  <a:pt x="21" y="64"/>
                  <a:pt x="8" y="51"/>
                  <a:pt x="8" y="36"/>
                </a:cubicBezTo>
                <a:cubicBezTo>
                  <a:pt x="8" y="21"/>
                  <a:pt x="21" y="8"/>
                  <a:pt x="36"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pic>
        <p:nvPicPr>
          <p:cNvPr id="3" name="Picture 2" descr="Chart&#10;&#10;Description automatically generated">
            <a:extLst>
              <a:ext uri="{FF2B5EF4-FFF2-40B4-BE49-F238E27FC236}">
                <a16:creationId xmlns:a16="http://schemas.microsoft.com/office/drawing/2014/main" id="{F88E31D4-7461-400F-AC55-4624BC8C910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12717" y="275922"/>
            <a:ext cx="7583465" cy="6315469"/>
          </a:xfrm>
          <a:prstGeom prst="rect">
            <a:avLst/>
          </a:prstGeom>
        </p:spPr>
      </p:pic>
    </p:spTree>
    <p:extLst>
      <p:ext uri="{BB962C8B-B14F-4D97-AF65-F5344CB8AC3E}">
        <p14:creationId xmlns:p14="http://schemas.microsoft.com/office/powerpoint/2010/main" val="29184142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34">
            <a:extLst>
              <a:ext uri="{FF2B5EF4-FFF2-40B4-BE49-F238E27FC236}">
                <a16:creationId xmlns:a16="http://schemas.microsoft.com/office/drawing/2014/main" id="{0CE1F2E9-5D11-4CF9-96ED-F13E5A880CBA}"/>
              </a:ext>
            </a:extLst>
          </p:cNvPr>
          <p:cNvSpPr/>
          <p:nvPr/>
        </p:nvSpPr>
        <p:spPr>
          <a:xfrm flipV="1">
            <a:off x="-2" y="3554574"/>
            <a:ext cx="12201834" cy="3303426"/>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 name="connsiteX0" fmla="*/ 0 w 3479810"/>
              <a:gd name="connsiteY0" fmla="*/ 0 h 1207779"/>
              <a:gd name="connsiteX1" fmla="*/ 3479810 w 3479810"/>
              <a:gd name="connsiteY1" fmla="*/ 4553 h 1207779"/>
              <a:gd name="connsiteX2" fmla="*/ 3479810 w 3479810"/>
              <a:gd name="connsiteY2" fmla="*/ 1130405 h 1207779"/>
              <a:gd name="connsiteX3" fmla="*/ 2185493 w 3479810"/>
              <a:gd name="connsiteY3" fmla="*/ 775263 h 1207779"/>
              <a:gd name="connsiteX4" fmla="*/ 0 w 3479810"/>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9810" h="1207779">
                <a:moveTo>
                  <a:pt x="0" y="0"/>
                </a:moveTo>
                <a:lnTo>
                  <a:pt x="3479810" y="4553"/>
                </a:lnTo>
                <a:lnTo>
                  <a:pt x="3479810" y="1130405"/>
                </a:lnTo>
                <a:cubicBezTo>
                  <a:pt x="3479511" y="1433772"/>
                  <a:pt x="3448427" y="745115"/>
                  <a:pt x="2185493" y="775263"/>
                </a:cubicBezTo>
                <a:cubicBezTo>
                  <a:pt x="922559" y="805411"/>
                  <a:pt x="59199" y="93304"/>
                  <a:pt x="0" y="0"/>
                </a:cubicBezTo>
                <a:close/>
              </a:path>
            </a:pathLst>
          </a:custGeom>
          <a:gradFill>
            <a:gsLst>
              <a:gs pos="21000">
                <a:schemeClr val="accent1">
                  <a:alpha val="10000"/>
                </a:schemeClr>
              </a:gs>
              <a:gs pos="100000">
                <a:schemeClr val="accent2">
                  <a:alpha val="1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itle 1">
            <a:extLst>
              <a:ext uri="{FF2B5EF4-FFF2-40B4-BE49-F238E27FC236}">
                <a16:creationId xmlns:a16="http://schemas.microsoft.com/office/drawing/2014/main" id="{7A11A548-7F61-4795-AD72-2678C8F9B209}"/>
              </a:ext>
            </a:extLst>
          </p:cNvPr>
          <p:cNvSpPr>
            <a:spLocks noGrp="1"/>
          </p:cNvSpPr>
          <p:nvPr>
            <p:ph type="title"/>
          </p:nvPr>
        </p:nvSpPr>
        <p:spPr>
          <a:xfrm>
            <a:off x="609600" y="365126"/>
            <a:ext cx="10972800" cy="775612"/>
          </a:xfrm>
        </p:spPr>
        <p:txBody>
          <a:bodyPr/>
          <a:lstStyle/>
          <a:p>
            <a:r>
              <a:rPr lang="en-US" dirty="0"/>
              <a:t>Data Exploration and Statistical Analysis</a:t>
            </a:r>
          </a:p>
        </p:txBody>
      </p:sp>
      <p:sp>
        <p:nvSpPr>
          <p:cNvPr id="4" name="Slide Number Placeholder 3">
            <a:extLst>
              <a:ext uri="{FF2B5EF4-FFF2-40B4-BE49-F238E27FC236}">
                <a16:creationId xmlns:a16="http://schemas.microsoft.com/office/drawing/2014/main" id="{2D1F42AE-A010-4798-9D6E-0E95ACB644C2}"/>
              </a:ext>
            </a:extLst>
          </p:cNvPr>
          <p:cNvSpPr>
            <a:spLocks noGrp="1"/>
          </p:cNvSpPr>
          <p:nvPr>
            <p:ph type="sldNum" sz="quarter" idx="4"/>
          </p:nvPr>
        </p:nvSpPr>
        <p:spPr/>
        <p:txBody>
          <a:bodyPr/>
          <a:lstStyle/>
          <a:p>
            <a:fld id="{B84D2E29-67F4-44D8-B0E3-F54815B4F123}" type="slidenum">
              <a:rPr lang="en-US" smtClean="0"/>
              <a:pPr/>
              <a:t>9</a:t>
            </a:fld>
            <a:endParaRPr lang="en-US" dirty="0"/>
          </a:p>
        </p:txBody>
      </p:sp>
      <p:sp>
        <p:nvSpPr>
          <p:cNvPr id="21" name="Rectangle 20">
            <a:extLst>
              <a:ext uri="{FF2B5EF4-FFF2-40B4-BE49-F238E27FC236}">
                <a16:creationId xmlns:a16="http://schemas.microsoft.com/office/drawing/2014/main" id="{5571CFD3-0772-4E3B-BFE8-D41C5244E13B}"/>
              </a:ext>
            </a:extLst>
          </p:cNvPr>
          <p:cNvSpPr/>
          <p:nvPr/>
        </p:nvSpPr>
        <p:spPr>
          <a:xfrm>
            <a:off x="4417067" y="4696531"/>
            <a:ext cx="3893574" cy="2369880"/>
          </a:xfrm>
          <a:prstGeom prst="rect">
            <a:avLst/>
          </a:prstGeom>
        </p:spPr>
        <p:txBody>
          <a:bodyPr wrap="square" lIns="0" tIns="0" rIns="0" bIns="0">
            <a:spAutoFit/>
          </a:bodyPr>
          <a:lstStyle/>
          <a:p>
            <a:r>
              <a:rPr lang="en-US" sz="1400" dirty="0"/>
              <a:t>The plot shows insights of  categorical features.</a:t>
            </a:r>
          </a:p>
          <a:p>
            <a:r>
              <a:rPr lang="en-AU" sz="1400" dirty="0"/>
              <a:t>The insights we can derive from this are that private and self employed have similar proportions of stroke. Whereas government jobs are due to having less stroke, children are not likely to have a stroke.</a:t>
            </a:r>
          </a:p>
          <a:p>
            <a:r>
              <a:rPr lang="en-AU" sz="1400" dirty="0"/>
              <a:t>Another insights we have is that their is not strong correlation in the amount of strokes gained by smokers as their is similar distribution  to a person getting stroke no matter what they smoke or they haven't smoked.</a:t>
            </a:r>
            <a:endParaRPr lang="en-US" sz="1400" dirty="0"/>
          </a:p>
          <a:p>
            <a:r>
              <a:rPr lang="en-US" sz="1400" dirty="0"/>
              <a:t> </a:t>
            </a:r>
          </a:p>
        </p:txBody>
      </p:sp>
      <p:cxnSp>
        <p:nvCxnSpPr>
          <p:cNvPr id="25" name="Straight Connector 24">
            <a:extLst>
              <a:ext uri="{FF2B5EF4-FFF2-40B4-BE49-F238E27FC236}">
                <a16:creationId xmlns:a16="http://schemas.microsoft.com/office/drawing/2014/main" id="{EA938F8A-8D1F-4BCD-A96F-9AEB4D2D688F}"/>
              </a:ext>
            </a:extLst>
          </p:cNvPr>
          <p:cNvCxnSpPr/>
          <p:nvPr/>
        </p:nvCxnSpPr>
        <p:spPr>
          <a:xfrm>
            <a:off x="7669161" y="2911417"/>
            <a:ext cx="4532671"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19FBDD5-D57E-40DC-8205-A3C721A13919}"/>
              </a:ext>
            </a:extLst>
          </p:cNvPr>
          <p:cNvCxnSpPr/>
          <p:nvPr/>
        </p:nvCxnSpPr>
        <p:spPr>
          <a:xfrm>
            <a:off x="7669161" y="4557413"/>
            <a:ext cx="4532671"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9FD860A7-32CC-4002-BDB8-A9E0CB4858CE}"/>
              </a:ext>
            </a:extLst>
          </p:cNvPr>
          <p:cNvGrpSpPr/>
          <p:nvPr/>
        </p:nvGrpSpPr>
        <p:grpSpPr>
          <a:xfrm>
            <a:off x="2330715" y="5547924"/>
            <a:ext cx="866776" cy="866776"/>
            <a:chOff x="6468857" y="4976205"/>
            <a:chExt cx="866776" cy="866776"/>
          </a:xfrm>
        </p:grpSpPr>
        <p:grpSp>
          <p:nvGrpSpPr>
            <p:cNvPr id="20" name="Group 19">
              <a:extLst>
                <a:ext uri="{FF2B5EF4-FFF2-40B4-BE49-F238E27FC236}">
                  <a16:creationId xmlns:a16="http://schemas.microsoft.com/office/drawing/2014/main" id="{CB7D27A5-556B-417B-B0EE-897F2649D109}"/>
                </a:ext>
              </a:extLst>
            </p:cNvPr>
            <p:cNvGrpSpPr/>
            <p:nvPr/>
          </p:nvGrpSpPr>
          <p:grpSpPr>
            <a:xfrm>
              <a:off x="6468857" y="4976205"/>
              <a:ext cx="866776" cy="866776"/>
              <a:chOff x="6705600" y="1238250"/>
              <a:chExt cx="866776" cy="866776"/>
            </a:xfrm>
          </p:grpSpPr>
          <p:sp>
            <p:nvSpPr>
              <p:cNvPr id="22" name="Oval 21">
                <a:extLst>
                  <a:ext uri="{FF2B5EF4-FFF2-40B4-BE49-F238E27FC236}">
                    <a16:creationId xmlns:a16="http://schemas.microsoft.com/office/drawing/2014/main" id="{9F88E9E5-CD0D-4949-AFDC-1FF41740A4E9}"/>
                  </a:ext>
                </a:extLst>
              </p:cNvPr>
              <p:cNvSpPr/>
              <p:nvPr/>
            </p:nvSpPr>
            <p:spPr>
              <a:xfrm>
                <a:off x="6705600" y="1238250"/>
                <a:ext cx="866776" cy="866776"/>
              </a:xfrm>
              <a:prstGeom prst="ellipse">
                <a:avLst/>
              </a:prstGeom>
              <a:gradFill>
                <a:gsLst>
                  <a:gs pos="21000">
                    <a:schemeClr val="accent1"/>
                  </a:gs>
                  <a:gs pos="100000">
                    <a:schemeClr val="accent2"/>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3" name="Oval 22">
                <a:extLst>
                  <a:ext uri="{FF2B5EF4-FFF2-40B4-BE49-F238E27FC236}">
                    <a16:creationId xmlns:a16="http://schemas.microsoft.com/office/drawing/2014/main" id="{C2E39987-BF7A-4372-9CBE-35BA1CAC6CA0}"/>
                  </a:ext>
                </a:extLst>
              </p:cNvPr>
              <p:cNvSpPr/>
              <p:nvPr/>
            </p:nvSpPr>
            <p:spPr>
              <a:xfrm>
                <a:off x="6800851" y="1333501"/>
                <a:ext cx="676275" cy="676275"/>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3" name="Group 32">
              <a:extLst>
                <a:ext uri="{FF2B5EF4-FFF2-40B4-BE49-F238E27FC236}">
                  <a16:creationId xmlns:a16="http://schemas.microsoft.com/office/drawing/2014/main" id="{E3D91512-9E0B-4EA8-A132-1A5B0CCF507C}"/>
                </a:ext>
              </a:extLst>
            </p:cNvPr>
            <p:cNvGrpSpPr/>
            <p:nvPr/>
          </p:nvGrpSpPr>
          <p:grpSpPr>
            <a:xfrm>
              <a:off x="6722064" y="5233381"/>
              <a:ext cx="360363" cy="352425"/>
              <a:chOff x="2676526" y="4681538"/>
              <a:chExt cx="360363" cy="352425"/>
            </a:xfrm>
            <a:solidFill>
              <a:schemeClr val="accent1"/>
            </a:solidFill>
          </p:grpSpPr>
          <p:sp>
            <p:nvSpPr>
              <p:cNvPr id="34" name="Freeform 26">
                <a:extLst>
                  <a:ext uri="{FF2B5EF4-FFF2-40B4-BE49-F238E27FC236}">
                    <a16:creationId xmlns:a16="http://schemas.microsoft.com/office/drawing/2014/main" id="{B778D83E-7188-492D-90A2-66BD9910069A}"/>
                  </a:ext>
                </a:extLst>
              </p:cNvPr>
              <p:cNvSpPr>
                <a:spLocks/>
              </p:cNvSpPr>
              <p:nvPr/>
            </p:nvSpPr>
            <p:spPr bwMode="auto">
              <a:xfrm>
                <a:off x="2676526" y="4794250"/>
                <a:ext cx="360363" cy="239713"/>
              </a:xfrm>
              <a:custGeom>
                <a:avLst/>
                <a:gdLst>
                  <a:gd name="T0" fmla="*/ 94 w 96"/>
                  <a:gd name="T1" fmla="*/ 60 h 64"/>
                  <a:gd name="T2" fmla="*/ 92 w 96"/>
                  <a:gd name="T3" fmla="*/ 60 h 64"/>
                  <a:gd name="T4" fmla="*/ 92 w 96"/>
                  <a:gd name="T5" fmla="*/ 2 h 64"/>
                  <a:gd name="T6" fmla="*/ 90 w 96"/>
                  <a:gd name="T7" fmla="*/ 0 h 64"/>
                  <a:gd name="T8" fmla="*/ 78 w 96"/>
                  <a:gd name="T9" fmla="*/ 0 h 64"/>
                  <a:gd name="T10" fmla="*/ 76 w 96"/>
                  <a:gd name="T11" fmla="*/ 2 h 64"/>
                  <a:gd name="T12" fmla="*/ 76 w 96"/>
                  <a:gd name="T13" fmla="*/ 60 h 64"/>
                  <a:gd name="T14" fmla="*/ 68 w 96"/>
                  <a:gd name="T15" fmla="*/ 60 h 64"/>
                  <a:gd name="T16" fmla="*/ 68 w 96"/>
                  <a:gd name="T17" fmla="*/ 18 h 64"/>
                  <a:gd name="T18" fmla="*/ 66 w 96"/>
                  <a:gd name="T19" fmla="*/ 16 h 64"/>
                  <a:gd name="T20" fmla="*/ 54 w 96"/>
                  <a:gd name="T21" fmla="*/ 16 h 64"/>
                  <a:gd name="T22" fmla="*/ 52 w 96"/>
                  <a:gd name="T23" fmla="*/ 18 h 64"/>
                  <a:gd name="T24" fmla="*/ 52 w 96"/>
                  <a:gd name="T25" fmla="*/ 60 h 64"/>
                  <a:gd name="T26" fmla="*/ 44 w 96"/>
                  <a:gd name="T27" fmla="*/ 60 h 64"/>
                  <a:gd name="T28" fmla="*/ 44 w 96"/>
                  <a:gd name="T29" fmla="*/ 34 h 64"/>
                  <a:gd name="T30" fmla="*/ 42 w 96"/>
                  <a:gd name="T31" fmla="*/ 32 h 64"/>
                  <a:gd name="T32" fmla="*/ 30 w 96"/>
                  <a:gd name="T33" fmla="*/ 32 h 64"/>
                  <a:gd name="T34" fmla="*/ 28 w 96"/>
                  <a:gd name="T35" fmla="*/ 34 h 64"/>
                  <a:gd name="T36" fmla="*/ 28 w 96"/>
                  <a:gd name="T37" fmla="*/ 60 h 64"/>
                  <a:gd name="T38" fmla="*/ 20 w 96"/>
                  <a:gd name="T39" fmla="*/ 60 h 64"/>
                  <a:gd name="T40" fmla="*/ 20 w 96"/>
                  <a:gd name="T41" fmla="*/ 50 h 64"/>
                  <a:gd name="T42" fmla="*/ 18 w 96"/>
                  <a:gd name="T43" fmla="*/ 48 h 64"/>
                  <a:gd name="T44" fmla="*/ 6 w 96"/>
                  <a:gd name="T45" fmla="*/ 48 h 64"/>
                  <a:gd name="T46" fmla="*/ 4 w 96"/>
                  <a:gd name="T47" fmla="*/ 50 h 64"/>
                  <a:gd name="T48" fmla="*/ 4 w 96"/>
                  <a:gd name="T49" fmla="*/ 60 h 64"/>
                  <a:gd name="T50" fmla="*/ 2 w 96"/>
                  <a:gd name="T51" fmla="*/ 60 h 64"/>
                  <a:gd name="T52" fmla="*/ 0 w 96"/>
                  <a:gd name="T53" fmla="*/ 62 h 64"/>
                  <a:gd name="T54" fmla="*/ 2 w 96"/>
                  <a:gd name="T55" fmla="*/ 64 h 64"/>
                  <a:gd name="T56" fmla="*/ 94 w 96"/>
                  <a:gd name="T57" fmla="*/ 64 h 64"/>
                  <a:gd name="T58" fmla="*/ 96 w 96"/>
                  <a:gd name="T59" fmla="*/ 62 h 64"/>
                  <a:gd name="T60" fmla="*/ 94 w 96"/>
                  <a:gd name="T61"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6" h="64">
                    <a:moveTo>
                      <a:pt x="94" y="60"/>
                    </a:moveTo>
                    <a:cubicBezTo>
                      <a:pt x="92" y="60"/>
                      <a:pt x="92" y="60"/>
                      <a:pt x="92" y="60"/>
                    </a:cubicBezTo>
                    <a:cubicBezTo>
                      <a:pt x="92" y="2"/>
                      <a:pt x="92" y="2"/>
                      <a:pt x="92" y="2"/>
                    </a:cubicBezTo>
                    <a:cubicBezTo>
                      <a:pt x="92" y="1"/>
                      <a:pt x="91" y="0"/>
                      <a:pt x="90" y="0"/>
                    </a:cubicBezTo>
                    <a:cubicBezTo>
                      <a:pt x="78" y="0"/>
                      <a:pt x="78" y="0"/>
                      <a:pt x="78" y="0"/>
                    </a:cubicBezTo>
                    <a:cubicBezTo>
                      <a:pt x="77" y="0"/>
                      <a:pt x="76" y="1"/>
                      <a:pt x="76" y="2"/>
                    </a:cubicBezTo>
                    <a:cubicBezTo>
                      <a:pt x="76" y="60"/>
                      <a:pt x="76" y="60"/>
                      <a:pt x="76" y="60"/>
                    </a:cubicBezTo>
                    <a:cubicBezTo>
                      <a:pt x="68" y="60"/>
                      <a:pt x="68" y="60"/>
                      <a:pt x="68" y="60"/>
                    </a:cubicBezTo>
                    <a:cubicBezTo>
                      <a:pt x="68" y="18"/>
                      <a:pt x="68" y="18"/>
                      <a:pt x="68" y="18"/>
                    </a:cubicBezTo>
                    <a:cubicBezTo>
                      <a:pt x="68" y="17"/>
                      <a:pt x="67" y="16"/>
                      <a:pt x="66" y="16"/>
                    </a:cubicBezTo>
                    <a:cubicBezTo>
                      <a:pt x="54" y="16"/>
                      <a:pt x="54" y="16"/>
                      <a:pt x="54" y="16"/>
                    </a:cubicBezTo>
                    <a:cubicBezTo>
                      <a:pt x="53" y="16"/>
                      <a:pt x="52" y="17"/>
                      <a:pt x="52" y="18"/>
                    </a:cubicBezTo>
                    <a:cubicBezTo>
                      <a:pt x="52" y="60"/>
                      <a:pt x="52" y="60"/>
                      <a:pt x="52" y="60"/>
                    </a:cubicBezTo>
                    <a:cubicBezTo>
                      <a:pt x="44" y="60"/>
                      <a:pt x="44" y="60"/>
                      <a:pt x="44" y="60"/>
                    </a:cubicBezTo>
                    <a:cubicBezTo>
                      <a:pt x="44" y="34"/>
                      <a:pt x="44" y="34"/>
                      <a:pt x="44" y="34"/>
                    </a:cubicBezTo>
                    <a:cubicBezTo>
                      <a:pt x="44" y="33"/>
                      <a:pt x="43" y="32"/>
                      <a:pt x="42" y="32"/>
                    </a:cubicBezTo>
                    <a:cubicBezTo>
                      <a:pt x="30" y="32"/>
                      <a:pt x="30" y="32"/>
                      <a:pt x="30" y="32"/>
                    </a:cubicBezTo>
                    <a:cubicBezTo>
                      <a:pt x="29" y="32"/>
                      <a:pt x="28" y="33"/>
                      <a:pt x="28" y="34"/>
                    </a:cubicBezTo>
                    <a:cubicBezTo>
                      <a:pt x="28" y="60"/>
                      <a:pt x="28" y="60"/>
                      <a:pt x="28" y="60"/>
                    </a:cubicBezTo>
                    <a:cubicBezTo>
                      <a:pt x="20" y="60"/>
                      <a:pt x="20" y="60"/>
                      <a:pt x="20" y="60"/>
                    </a:cubicBezTo>
                    <a:cubicBezTo>
                      <a:pt x="20" y="50"/>
                      <a:pt x="20" y="50"/>
                      <a:pt x="20" y="50"/>
                    </a:cubicBezTo>
                    <a:cubicBezTo>
                      <a:pt x="20" y="49"/>
                      <a:pt x="19" y="48"/>
                      <a:pt x="18" y="48"/>
                    </a:cubicBezTo>
                    <a:cubicBezTo>
                      <a:pt x="6" y="48"/>
                      <a:pt x="6" y="48"/>
                      <a:pt x="6" y="48"/>
                    </a:cubicBezTo>
                    <a:cubicBezTo>
                      <a:pt x="5" y="48"/>
                      <a:pt x="4" y="49"/>
                      <a:pt x="4" y="50"/>
                    </a:cubicBezTo>
                    <a:cubicBezTo>
                      <a:pt x="4" y="60"/>
                      <a:pt x="4" y="60"/>
                      <a:pt x="4" y="60"/>
                    </a:cubicBezTo>
                    <a:cubicBezTo>
                      <a:pt x="2" y="60"/>
                      <a:pt x="2" y="60"/>
                      <a:pt x="2" y="60"/>
                    </a:cubicBezTo>
                    <a:cubicBezTo>
                      <a:pt x="1" y="60"/>
                      <a:pt x="0" y="61"/>
                      <a:pt x="0" y="62"/>
                    </a:cubicBezTo>
                    <a:cubicBezTo>
                      <a:pt x="0" y="63"/>
                      <a:pt x="1" y="64"/>
                      <a:pt x="2" y="64"/>
                    </a:cubicBezTo>
                    <a:cubicBezTo>
                      <a:pt x="94" y="64"/>
                      <a:pt x="94" y="64"/>
                      <a:pt x="94" y="64"/>
                    </a:cubicBezTo>
                    <a:cubicBezTo>
                      <a:pt x="95" y="64"/>
                      <a:pt x="96" y="63"/>
                      <a:pt x="96" y="62"/>
                    </a:cubicBezTo>
                    <a:cubicBezTo>
                      <a:pt x="96" y="61"/>
                      <a:pt x="95" y="60"/>
                      <a:pt x="9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27">
                <a:extLst>
                  <a:ext uri="{FF2B5EF4-FFF2-40B4-BE49-F238E27FC236}">
                    <a16:creationId xmlns:a16="http://schemas.microsoft.com/office/drawing/2014/main" id="{554294EA-37B2-49C2-8C26-C3485A727D75}"/>
                  </a:ext>
                </a:extLst>
              </p:cNvPr>
              <p:cNvSpPr>
                <a:spLocks/>
              </p:cNvSpPr>
              <p:nvPr/>
            </p:nvSpPr>
            <p:spPr bwMode="auto">
              <a:xfrm>
                <a:off x="2714626" y="4681538"/>
                <a:ext cx="285750" cy="203200"/>
              </a:xfrm>
              <a:custGeom>
                <a:avLst/>
                <a:gdLst>
                  <a:gd name="T0" fmla="*/ 2 w 76"/>
                  <a:gd name="T1" fmla="*/ 54 h 54"/>
                  <a:gd name="T2" fmla="*/ 3 w 76"/>
                  <a:gd name="T3" fmla="*/ 54 h 54"/>
                  <a:gd name="T4" fmla="*/ 71 w 76"/>
                  <a:gd name="T5" fmla="*/ 8 h 54"/>
                  <a:gd name="T6" fmla="*/ 70 w 76"/>
                  <a:gd name="T7" fmla="*/ 20 h 54"/>
                  <a:gd name="T8" fmla="*/ 72 w 76"/>
                  <a:gd name="T9" fmla="*/ 22 h 54"/>
                  <a:gd name="T10" fmla="*/ 72 w 76"/>
                  <a:gd name="T11" fmla="*/ 22 h 54"/>
                  <a:gd name="T12" fmla="*/ 74 w 76"/>
                  <a:gd name="T13" fmla="*/ 20 h 54"/>
                  <a:gd name="T14" fmla="*/ 76 w 76"/>
                  <a:gd name="T15" fmla="*/ 4 h 54"/>
                  <a:gd name="T16" fmla="*/ 74 w 76"/>
                  <a:gd name="T17" fmla="*/ 2 h 54"/>
                  <a:gd name="T18" fmla="*/ 58 w 76"/>
                  <a:gd name="T19" fmla="*/ 0 h 54"/>
                  <a:gd name="T20" fmla="*/ 56 w 76"/>
                  <a:gd name="T21" fmla="*/ 2 h 54"/>
                  <a:gd name="T22" fmla="*/ 58 w 76"/>
                  <a:gd name="T23" fmla="*/ 4 h 54"/>
                  <a:gd name="T24" fmla="*/ 68 w 76"/>
                  <a:gd name="T25" fmla="*/ 5 h 54"/>
                  <a:gd name="T26" fmla="*/ 1 w 76"/>
                  <a:gd name="T27" fmla="*/ 50 h 54"/>
                  <a:gd name="T28" fmla="*/ 0 w 76"/>
                  <a:gd name="T29" fmla="*/ 53 h 54"/>
                  <a:gd name="T30" fmla="*/ 2 w 76"/>
                  <a:gd name="T3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54">
                    <a:moveTo>
                      <a:pt x="2" y="54"/>
                    </a:moveTo>
                    <a:cubicBezTo>
                      <a:pt x="2" y="54"/>
                      <a:pt x="3" y="54"/>
                      <a:pt x="3" y="54"/>
                    </a:cubicBezTo>
                    <a:cubicBezTo>
                      <a:pt x="71" y="8"/>
                      <a:pt x="71" y="8"/>
                      <a:pt x="71" y="8"/>
                    </a:cubicBezTo>
                    <a:cubicBezTo>
                      <a:pt x="70" y="20"/>
                      <a:pt x="70" y="20"/>
                      <a:pt x="70" y="20"/>
                    </a:cubicBezTo>
                    <a:cubicBezTo>
                      <a:pt x="70" y="21"/>
                      <a:pt x="71" y="22"/>
                      <a:pt x="72" y="22"/>
                    </a:cubicBezTo>
                    <a:cubicBezTo>
                      <a:pt x="72" y="22"/>
                      <a:pt x="72" y="22"/>
                      <a:pt x="72" y="22"/>
                    </a:cubicBezTo>
                    <a:cubicBezTo>
                      <a:pt x="73" y="22"/>
                      <a:pt x="74" y="21"/>
                      <a:pt x="74" y="20"/>
                    </a:cubicBezTo>
                    <a:cubicBezTo>
                      <a:pt x="76" y="4"/>
                      <a:pt x="76" y="4"/>
                      <a:pt x="76" y="4"/>
                    </a:cubicBezTo>
                    <a:cubicBezTo>
                      <a:pt x="76" y="3"/>
                      <a:pt x="75" y="2"/>
                      <a:pt x="74" y="2"/>
                    </a:cubicBezTo>
                    <a:cubicBezTo>
                      <a:pt x="74" y="2"/>
                      <a:pt x="58" y="0"/>
                      <a:pt x="58" y="0"/>
                    </a:cubicBezTo>
                    <a:cubicBezTo>
                      <a:pt x="57" y="0"/>
                      <a:pt x="56" y="1"/>
                      <a:pt x="56" y="2"/>
                    </a:cubicBezTo>
                    <a:cubicBezTo>
                      <a:pt x="56" y="3"/>
                      <a:pt x="57" y="4"/>
                      <a:pt x="58" y="4"/>
                    </a:cubicBezTo>
                    <a:cubicBezTo>
                      <a:pt x="68" y="5"/>
                      <a:pt x="68" y="5"/>
                      <a:pt x="68" y="5"/>
                    </a:cubicBezTo>
                    <a:cubicBezTo>
                      <a:pt x="1" y="50"/>
                      <a:pt x="1" y="50"/>
                      <a:pt x="1" y="50"/>
                    </a:cubicBezTo>
                    <a:cubicBezTo>
                      <a:pt x="0" y="51"/>
                      <a:pt x="0" y="52"/>
                      <a:pt x="0" y="53"/>
                    </a:cubicBezTo>
                    <a:cubicBezTo>
                      <a:pt x="1" y="54"/>
                      <a:pt x="1" y="54"/>
                      <a:pt x="2"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pic>
        <p:nvPicPr>
          <p:cNvPr id="5" name="Picture 4" descr="A picture containing graphical user interface&#10;&#10;Description automatically generated">
            <a:extLst>
              <a:ext uri="{FF2B5EF4-FFF2-40B4-BE49-F238E27FC236}">
                <a16:creationId xmlns:a16="http://schemas.microsoft.com/office/drawing/2014/main" id="{9790CC89-6D0A-4AD3-96B2-C7F3B5D03B5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34570" y="-211184"/>
            <a:ext cx="7500090" cy="5468883"/>
          </a:xfrm>
          <a:prstGeom prst="rect">
            <a:avLst/>
          </a:prstGeom>
        </p:spPr>
      </p:pic>
      <p:pic>
        <p:nvPicPr>
          <p:cNvPr id="11" name="Picture 10" descr="A picture containing text&#10;&#10;Description automatically generated">
            <a:extLst>
              <a:ext uri="{FF2B5EF4-FFF2-40B4-BE49-F238E27FC236}">
                <a16:creationId xmlns:a16="http://schemas.microsoft.com/office/drawing/2014/main" id="{F627E197-A5B7-42C0-A632-2334E60A5C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66354" y="-256763"/>
            <a:ext cx="6659666" cy="6336359"/>
          </a:xfrm>
          <a:prstGeom prst="rect">
            <a:avLst/>
          </a:prstGeom>
        </p:spPr>
      </p:pic>
    </p:spTree>
    <p:extLst>
      <p:ext uri="{BB962C8B-B14F-4D97-AF65-F5344CB8AC3E}">
        <p14:creationId xmlns:p14="http://schemas.microsoft.com/office/powerpoint/2010/main" val="5931083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vYtTqbzdNWEvagXRU7He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zvYtTqbzdNWEvagXRU7He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zvYtTqbzdNWEvagXRU7He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vgZw2iL.2yQ.KwK62gA8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RcrGeVB2J0.11dNmX_wK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KRBZtSHR3OuSJzhCtKm3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30">
      <a:dk1>
        <a:sysClr val="windowText" lastClr="000000"/>
      </a:dk1>
      <a:lt1>
        <a:sysClr val="window" lastClr="FFFFFF"/>
      </a:lt1>
      <a:dk2>
        <a:srgbClr val="44546A"/>
      </a:dk2>
      <a:lt2>
        <a:srgbClr val="E7E6E6"/>
      </a:lt2>
      <a:accent1>
        <a:srgbClr val="652D74"/>
      </a:accent1>
      <a:accent2>
        <a:srgbClr val="A53975"/>
      </a:accent2>
      <a:accent3>
        <a:srgbClr val="1F8492"/>
      </a:accent3>
      <a:accent4>
        <a:srgbClr val="DBCBD8"/>
      </a:accent4>
      <a:accent5>
        <a:srgbClr val="564787"/>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345</TotalTime>
  <Words>997</Words>
  <Application>Microsoft Office PowerPoint</Application>
  <PresentationFormat>Widescreen</PresentationFormat>
  <Paragraphs>225</Paragraphs>
  <Slides>20</Slides>
  <Notes>9</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7" baseType="lpstr">
      <vt:lpstr>Arial</vt:lpstr>
      <vt:lpstr>Calibri</vt:lpstr>
      <vt:lpstr>Century Gothic</vt:lpstr>
      <vt:lpstr>Helvetica Neue</vt:lpstr>
      <vt:lpstr>Segoe UI</vt:lpstr>
      <vt:lpstr>Office Theme</vt:lpstr>
      <vt:lpstr>think-cell Slide</vt:lpstr>
      <vt:lpstr>PowerPoint Presentation</vt:lpstr>
      <vt:lpstr>PowerPoint Presentation</vt:lpstr>
      <vt:lpstr>Agenda</vt:lpstr>
      <vt:lpstr>Background </vt:lpstr>
      <vt:lpstr>Background Continued</vt:lpstr>
      <vt:lpstr>Business Question</vt:lpstr>
      <vt:lpstr>Data Science Pipeline</vt:lpstr>
      <vt:lpstr>Data Set  contains 12 Features</vt:lpstr>
      <vt:lpstr>Data Exploration and Statistical Analysis</vt:lpstr>
      <vt:lpstr>PowerPoint Presentation</vt:lpstr>
      <vt:lpstr>PowerPoint Presentation</vt:lpstr>
      <vt:lpstr>PowerPoint Presentation</vt:lpstr>
      <vt:lpstr>Preprocessing Missing Values</vt:lpstr>
      <vt:lpstr>PowerPoint Presentation</vt:lpstr>
      <vt:lpstr>PowerPoint Presentation</vt:lpstr>
      <vt:lpstr>PowerPoint Presentation</vt:lpstr>
      <vt:lpstr>PowerPoint Presentation</vt:lpstr>
      <vt:lpstr>PowerPoint Presentation</vt:lpstr>
      <vt:lpstr> Summar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EINALD</dc:creator>
  <cp:lastModifiedBy>shrey parekh</cp:lastModifiedBy>
  <cp:revision>205</cp:revision>
  <dcterms:created xsi:type="dcterms:W3CDTF">2019-05-28T07:34:16Z</dcterms:created>
  <dcterms:modified xsi:type="dcterms:W3CDTF">2021-03-25T06:45:23Z</dcterms:modified>
</cp:coreProperties>
</file>